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sldIdLst>
    <p:sldId id="258" r:id="rId5"/>
    <p:sldId id="259" r:id="rId6"/>
    <p:sldId id="260" r:id="rId7"/>
    <p:sldId id="261" r:id="rId8"/>
    <p:sldId id="262" r:id="rId9"/>
    <p:sldId id="263" r:id="rId10"/>
    <p:sldId id="264" r:id="rId11"/>
    <p:sldId id="269" r:id="rId12"/>
    <p:sldId id="266" r:id="rId13"/>
    <p:sldId id="267" r:id="rId14"/>
    <p:sldId id="268" r:id="rId15"/>
  </p:sldIdLst>
  <p:sldSz cx="9144000" cy="6858000" type="screen4x3"/>
  <p:notesSz cx="7010400" cy="9223375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napToObjects="1">
      <p:cViewPr varScale="1">
        <p:scale>
          <a:sx n="67" d="100"/>
          <a:sy n="67" d="100"/>
        </p:scale>
        <p:origin x="528" y="6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371600"/>
            <a:ext cx="7848600" cy="1927225"/>
          </a:xfrm>
        </p:spPr>
        <p:txBody>
          <a:bodyPr anchor="b">
            <a:noAutofit/>
          </a:bodyPr>
          <a:lstStyle>
            <a:lvl1pPr>
              <a:defRPr sz="5400" cap="all" baseline="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505200"/>
            <a:ext cx="64008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5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685800" y="3398520"/>
            <a:ext cx="7848600" cy="1588"/>
          </a:xfrm>
          <a:prstGeom prst="line">
            <a:avLst/>
          </a:prstGeom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99243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0947A9-521A-4AFE-8C3B-59BE50CEA4DD}" type="slidenum">
              <a:rPr lang="en-US" smtClean="0">
                <a:solidFill>
                  <a:srgbClr val="292934">
                    <a:lumMod val="75000"/>
                    <a:lumOff val="25000"/>
                  </a:srgbClr>
                </a:solidFill>
              </a:rPr>
              <a:pPr/>
              <a:t>‹#›</a:t>
            </a:fld>
            <a:endParaRPr lang="en-US">
              <a:solidFill>
                <a:srgbClr val="292934">
                  <a:lumMod val="75000"/>
                  <a:lumOff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06781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990600"/>
          </a:xfrm>
        </p:spPr>
        <p:txBody>
          <a:bodyPr/>
          <a:lstStyle>
            <a:lvl1pPr>
              <a:defRPr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077200" y="6477000"/>
            <a:ext cx="1066800" cy="329184"/>
          </a:xfrm>
        </p:spPr>
        <p:txBody>
          <a:bodyPr/>
          <a:lstStyle>
            <a:lvl1pPr algn="ctr"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F80947A9-521A-4AFE-8C3B-59BE50CEA4DD}" type="slidenum">
              <a:rPr lang="en-US" smtClean="0">
                <a:solidFill>
                  <a:srgbClr val="292934">
                    <a:lumMod val="75000"/>
                    <a:lumOff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92934">
                  <a:lumMod val="75000"/>
                  <a:lumOff val="25000"/>
                </a:srgbClr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457200" y="1371600"/>
            <a:ext cx="8229600" cy="685800"/>
          </a:xfrm>
        </p:spPr>
        <p:txBody>
          <a:bodyPr>
            <a:normAutofit/>
          </a:bodyPr>
          <a:lstStyle>
            <a:lvl1pPr marL="0" indent="0" algn="l">
              <a:buNone/>
              <a:defRPr sz="1800" i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21150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990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077200" y="6477000"/>
            <a:ext cx="1066800" cy="329184"/>
          </a:xfrm>
        </p:spPr>
        <p:txBody>
          <a:bodyPr/>
          <a:lstStyle>
            <a:lvl1pPr algn="ctr"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F80947A9-521A-4AFE-8C3B-59BE50CEA4D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25048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990600"/>
          </a:xfrm>
        </p:spPr>
        <p:txBody>
          <a:bodyPr/>
          <a:lstStyle>
            <a:lvl1pPr>
              <a:defRPr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077200" y="6477000"/>
            <a:ext cx="1066800" cy="329184"/>
          </a:xfrm>
        </p:spPr>
        <p:txBody>
          <a:bodyPr/>
          <a:lstStyle>
            <a:lvl1pPr algn="ctr"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F80947A9-521A-4AFE-8C3B-59BE50CEA4DD}" type="slidenum">
              <a:rPr lang="en-US" smtClean="0">
                <a:solidFill>
                  <a:srgbClr val="292934">
                    <a:lumMod val="75000"/>
                    <a:lumOff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92934">
                  <a:lumMod val="75000"/>
                  <a:lumOff val="25000"/>
                </a:srgbClr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457200" y="1371600"/>
            <a:ext cx="8229600" cy="685800"/>
          </a:xfrm>
        </p:spPr>
        <p:txBody>
          <a:bodyPr>
            <a:normAutofit/>
          </a:bodyPr>
          <a:lstStyle>
            <a:lvl1pPr marL="0" indent="0" algn="l">
              <a:buNone/>
              <a:defRPr sz="1800" i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6050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990600"/>
          </a:xfrm>
        </p:spPr>
        <p:txBody>
          <a:bodyPr/>
          <a:lstStyle>
            <a:lvl1pPr>
              <a:defRPr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077200" y="6477000"/>
            <a:ext cx="1066800" cy="329184"/>
          </a:xfrm>
        </p:spPr>
        <p:txBody>
          <a:bodyPr/>
          <a:lstStyle>
            <a:lvl1pPr algn="ctr"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F80947A9-521A-4AFE-8C3B-59BE50CEA4DD}" type="slidenum">
              <a:rPr lang="en-US" smtClean="0">
                <a:solidFill>
                  <a:srgbClr val="292934">
                    <a:lumMod val="75000"/>
                    <a:lumOff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92934">
                  <a:lumMod val="75000"/>
                  <a:lumOff val="25000"/>
                </a:srgbClr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457200" y="1371600"/>
            <a:ext cx="8229600" cy="685800"/>
          </a:xfrm>
        </p:spPr>
        <p:txBody>
          <a:bodyPr>
            <a:normAutofit/>
          </a:bodyPr>
          <a:lstStyle>
            <a:lvl1pPr marL="0" indent="0" algn="l">
              <a:buNone/>
              <a:defRPr sz="1800" i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94155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220786"/>
            <a:ext cx="9144000" cy="2286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533400"/>
            <a:ext cx="8229600" cy="990600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876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924800" y="6400800"/>
            <a:ext cx="10668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defTabSz="914400"/>
            <a:fld id="{F80947A9-521A-4AFE-8C3B-59BE50CEA4DD}" type="slidenum">
              <a:rPr lang="en-US" smtClean="0">
                <a:solidFill>
                  <a:srgbClr val="292934">
                    <a:lumMod val="75000"/>
                    <a:lumOff val="25000"/>
                  </a:srgbClr>
                </a:solidFill>
              </a:rPr>
              <a:pPr defTabSz="914400"/>
              <a:t>‹#›</a:t>
            </a:fld>
            <a:endParaRPr lang="en-US" dirty="0">
              <a:solidFill>
                <a:srgbClr val="292934">
                  <a:lumMod val="75000"/>
                  <a:lumOff val="25000"/>
                </a:srgbClr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88" t="21455" r="8519" b="27218"/>
          <a:stretch/>
        </p:blipFill>
        <p:spPr>
          <a:xfrm>
            <a:off x="6860627" y="36786"/>
            <a:ext cx="2207173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858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4000" kern="1200" spc="-100" baseline="0">
          <a:solidFill>
            <a:schemeClr val="accent5">
              <a:lumMod val="75000"/>
            </a:schemeClr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spcBef>
          <a:spcPct val="20000"/>
        </a:spcBef>
        <a:buClr>
          <a:srgbClr val="2B303D"/>
        </a:buClr>
        <a:buSzPct val="85000"/>
        <a:buFont typeface="Arial" pitchFamily="34" charset="0"/>
        <a:buChar char="•"/>
        <a:defRPr sz="2400" kern="1200">
          <a:solidFill>
            <a:schemeClr val="accent5">
              <a:lumMod val="50000"/>
            </a:schemeClr>
          </a:solidFill>
          <a:latin typeface="Century Gothic" panose="020B0502020202020204" pitchFamily="34" charset="0"/>
          <a:ea typeface="+mn-ea"/>
          <a:cs typeface="+mn-cs"/>
        </a:defRPr>
      </a:lvl1pPr>
      <a:lvl2pPr marL="457200" indent="-182880" algn="l" defTabSz="914400" rtl="0" eaLnBrk="1" latinLnBrk="0" hangingPunct="1">
        <a:spcBef>
          <a:spcPct val="20000"/>
        </a:spcBef>
        <a:buClr>
          <a:srgbClr val="87A634"/>
        </a:buClr>
        <a:buSzPct val="85000"/>
        <a:buFont typeface="Arial" pitchFamily="34" charset="0"/>
        <a:buChar char="•"/>
        <a:defRPr sz="2000" kern="1200">
          <a:solidFill>
            <a:schemeClr val="accent5">
              <a:lumMod val="50000"/>
            </a:schemeClr>
          </a:solidFill>
          <a:latin typeface="Century Gothic" panose="020B0502020202020204" pitchFamily="34" charset="0"/>
          <a:ea typeface="+mn-ea"/>
          <a:cs typeface="+mn-cs"/>
        </a:defRPr>
      </a:lvl2pPr>
      <a:lvl3pPr marL="891540" indent="-342900" algn="l" defTabSz="914400" rtl="0" eaLnBrk="1" latinLnBrk="0" hangingPunct="1">
        <a:spcBef>
          <a:spcPct val="20000"/>
        </a:spcBef>
        <a:buClr>
          <a:srgbClr val="E88E4A"/>
        </a:buClr>
        <a:buSzPct val="90000"/>
        <a:buFont typeface="Arial" panose="020B0604020202020204" pitchFamily="34" charset="0"/>
        <a:buChar char="•"/>
        <a:defRPr sz="1800" kern="1200">
          <a:solidFill>
            <a:schemeClr val="accent5">
              <a:lumMod val="50000"/>
            </a:schemeClr>
          </a:solidFill>
          <a:latin typeface="Century Gothic" panose="020B0502020202020204" pitchFamily="34" charset="0"/>
          <a:ea typeface="+mn-ea"/>
          <a:cs typeface="+mn-cs"/>
        </a:defRPr>
      </a:lvl3pPr>
      <a:lvl4pPr marL="10058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accent5">
              <a:lumMod val="50000"/>
            </a:schemeClr>
          </a:solidFill>
          <a:latin typeface="Century Gothic" panose="020B0502020202020204" pitchFamily="34" charset="0"/>
          <a:ea typeface="+mn-ea"/>
          <a:cs typeface="+mn-cs"/>
        </a:defRPr>
      </a:lvl4pPr>
      <a:lvl5pPr marL="1188720" indent="-137160" algn="l" defTabSz="914400" rtl="0" eaLnBrk="1" latinLnBrk="0" hangingPunct="1">
        <a:spcBef>
          <a:spcPct val="20000"/>
        </a:spcBef>
        <a:buClr>
          <a:srgbClr val="00B0F0"/>
        </a:buClr>
        <a:buSzPct val="100000"/>
        <a:buFont typeface="Arial" pitchFamily="34" charset="0"/>
        <a:buChar char="•"/>
        <a:defRPr sz="1400" kern="1200" baseline="0">
          <a:solidFill>
            <a:schemeClr val="accent5">
              <a:lumMod val="50000"/>
            </a:schemeClr>
          </a:solidFill>
          <a:latin typeface="Century Gothic" panose="020B0502020202020204" pitchFamily="34" charset="0"/>
          <a:ea typeface="+mn-ea"/>
          <a:cs typeface="+mn-cs"/>
        </a:defRPr>
      </a:lvl5pPr>
      <a:lvl6pPr marL="137160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55448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19202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mekkographics.com/resources/blog/" TargetMode="External"/><Relationship Id="rId2" Type="http://schemas.openxmlformats.org/officeDocument/2006/relationships/hyperlink" Target="http://www.mekkographics.com/resources/charts-by-type/marimekko/" TargetMode="External"/><Relationship Id="rId1" Type="http://schemas.openxmlformats.org/officeDocument/2006/relationships/slideLayout" Target="../slideLayouts/slideLayout4.xml"/><Relationship Id="rId5" Type="http://schemas.openxmlformats.org/officeDocument/2006/relationships/hyperlink" Target="mailto:david@mekkographics.com" TargetMode="External"/><Relationship Id="rId4" Type="http://schemas.openxmlformats.org/officeDocument/2006/relationships/hyperlink" Target="mailto:support@mekkographics.com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5.emf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Relationship Id="rId4" Type="http://schemas.openxmlformats.org/officeDocument/2006/relationships/hyperlink" Target="http://www.goodcarbadcar.net/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12.emf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4000" dirty="0" smtClean="0">
                <a:latin typeface="+mn-lt"/>
              </a:rPr>
              <a:t>How to Make a Market Map</a:t>
            </a:r>
            <a:endParaRPr lang="en-US" sz="4000" dirty="0">
              <a:latin typeface="+mn-lt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2000" dirty="0"/>
              <a:t>David Goldstein</a:t>
            </a:r>
          </a:p>
          <a:p>
            <a:r>
              <a:rPr lang="en-US" sz="2000" dirty="0"/>
              <a:t>President</a:t>
            </a:r>
          </a:p>
          <a:p>
            <a:r>
              <a:rPr lang="en-US" sz="2000" dirty="0" smtClean="0"/>
              <a:t>February 24, 2015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4073829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7391400" cy="990600"/>
          </a:xfrm>
        </p:spPr>
        <p:txBody>
          <a:bodyPr>
            <a:noAutofit/>
          </a:bodyPr>
          <a:lstStyle/>
          <a:p>
            <a:r>
              <a:rPr lang="en-US" sz="3600" dirty="0" smtClean="0"/>
              <a:t>Tips to Make Your Market Map a Million Dollar Chart</a:t>
            </a:r>
            <a:endParaRPr lang="en-US" sz="3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553200" y="6477000"/>
            <a:ext cx="2133600" cy="244475"/>
          </a:xfrm>
          <a:prstGeom prst="rect">
            <a:avLst/>
          </a:prstGeom>
        </p:spPr>
        <p:txBody>
          <a:bodyPr/>
          <a:lstStyle/>
          <a:p>
            <a:fld id="{6AEC74A7-EB7C-44E5-861C-D52F0FCB3538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304800" y="1837099"/>
            <a:ext cx="8001000" cy="45243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rgbClr val="5757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ep the number of series in each bar under 10, to make the chart more readabl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5757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‘Other’ series to group smaller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rgbClr val="5757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rt your bars biggest on left and series biggest on botto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rgbClr val="5757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color and shading to highlight or group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rgbClr val="5757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light key compan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rgbClr val="5757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oup similar companies or subsidiaries based on color or shad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rgbClr val="5757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 a data row for segment growth, margins or other key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 smtClean="0">
              <a:solidFill>
                <a:srgbClr val="5757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30356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7391400" cy="990600"/>
          </a:xfrm>
        </p:spPr>
        <p:txBody>
          <a:bodyPr>
            <a:noAutofit/>
          </a:bodyPr>
          <a:lstStyle/>
          <a:p>
            <a:r>
              <a:rPr lang="en-US" sz="3600" dirty="0" smtClean="0"/>
              <a:t>Questions and Next Steps</a:t>
            </a:r>
            <a:endParaRPr lang="en-US" sz="3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553200" y="6477000"/>
            <a:ext cx="2133600" cy="244475"/>
          </a:xfrm>
          <a:prstGeom prst="rect">
            <a:avLst/>
          </a:prstGeom>
        </p:spPr>
        <p:txBody>
          <a:bodyPr/>
          <a:lstStyle/>
          <a:p>
            <a:fld id="{6AEC74A7-EB7C-44E5-861C-D52F0FCB3538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304800" y="1447800"/>
            <a:ext cx="8001000" cy="4832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rgbClr val="5757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estions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rgbClr val="5757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chat feature of GoToMeet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rgbClr val="5757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so, can you suggest other topics for ‘how to’ webinars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rgbClr val="5757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ourc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57576E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http://www.mekkographics.com/resources/charts-by-type/marimekko</a:t>
            </a:r>
            <a:r>
              <a:rPr lang="en-US" sz="2800" dirty="0" smtClean="0">
                <a:solidFill>
                  <a:srgbClr val="57576E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/</a:t>
            </a:r>
            <a:endParaRPr lang="en-US" sz="2800" dirty="0" smtClean="0">
              <a:solidFill>
                <a:srgbClr val="5757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57576E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http://www.mekkographics.com/resources/blog</a:t>
            </a:r>
            <a:r>
              <a:rPr lang="en-US" sz="2800" dirty="0" smtClean="0">
                <a:solidFill>
                  <a:srgbClr val="57576E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/</a:t>
            </a:r>
            <a:r>
              <a:rPr lang="en-US" sz="2800" dirty="0" smtClean="0">
                <a:solidFill>
                  <a:srgbClr val="5757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rgbClr val="5757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ail us at: </a:t>
            </a:r>
            <a:r>
              <a:rPr lang="en-US" sz="2800" dirty="0" smtClean="0">
                <a:solidFill>
                  <a:srgbClr val="57576E"/>
                </a:solidFill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support@mekkographics.com</a:t>
            </a:r>
            <a:r>
              <a:rPr lang="en-US" sz="2800" dirty="0" smtClean="0">
                <a:solidFill>
                  <a:srgbClr val="5757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or </a:t>
            </a:r>
            <a:r>
              <a:rPr lang="en-US" sz="2800" dirty="0" smtClean="0">
                <a:solidFill>
                  <a:srgbClr val="57576E"/>
                </a:solidFill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david@mekkographics.com</a:t>
            </a:r>
            <a:endParaRPr lang="en-US" sz="2800" dirty="0" smtClean="0">
              <a:solidFill>
                <a:srgbClr val="5757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2571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553200" y="6477000"/>
            <a:ext cx="2133600" cy="244475"/>
          </a:xfrm>
          <a:prstGeom prst="rect">
            <a:avLst/>
          </a:prstGeom>
        </p:spPr>
        <p:txBody>
          <a:bodyPr/>
          <a:lstStyle/>
          <a:p>
            <a:fld id="{6AEC74A7-EB7C-44E5-861C-D52F0FCB3538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304800" y="1447800"/>
            <a:ext cx="8001000" cy="40318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200" dirty="0" smtClean="0">
                <a:solidFill>
                  <a:srgbClr val="5757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is a market map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200" dirty="0" smtClean="0">
                <a:solidFill>
                  <a:srgbClr val="5757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y would you use one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200" dirty="0" smtClean="0">
                <a:solidFill>
                  <a:srgbClr val="5757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ere would you find the data needed to build one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200" dirty="0" smtClean="0">
                <a:solidFill>
                  <a:srgbClr val="5757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w do you build a market map with Mekko Graphics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200" dirty="0" smtClean="0">
                <a:solidFill>
                  <a:srgbClr val="5757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w do you tweak it to become a ‘million dollar chart?’</a:t>
            </a:r>
          </a:p>
        </p:txBody>
      </p:sp>
    </p:spTree>
    <p:extLst>
      <p:ext uri="{BB962C8B-B14F-4D97-AF65-F5344CB8AC3E}">
        <p14:creationId xmlns:p14="http://schemas.microsoft.com/office/powerpoint/2010/main" val="228437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Is a Market Map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553200" y="6477000"/>
            <a:ext cx="2133600" cy="244475"/>
          </a:xfrm>
          <a:prstGeom prst="rect">
            <a:avLst/>
          </a:prstGeom>
        </p:spPr>
        <p:txBody>
          <a:bodyPr/>
          <a:lstStyle/>
          <a:p>
            <a:fld id="{6AEC74A7-EB7C-44E5-861C-D52F0FCB3538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304799" y="1447800"/>
            <a:ext cx="4724399" cy="3293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5757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wo-dimensional chart that shows breaks down sales into two categori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5757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e category is typically competito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5757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other is often region or market seg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5757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s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5757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oadband usage by provider and country maps the European broadband marke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5757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 auto sales in units by segment and competito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5757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 spend by segment and sub-segm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5757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5757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3000" y="1534620"/>
            <a:ext cx="4481690" cy="265638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824" y="4038600"/>
            <a:ext cx="4085376" cy="2420964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800" y="4038600"/>
            <a:ext cx="4471882" cy="2650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433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Build a Market Map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553200" y="6477000"/>
            <a:ext cx="2133600" cy="244475"/>
          </a:xfrm>
          <a:prstGeom prst="rect">
            <a:avLst/>
          </a:prstGeom>
        </p:spPr>
        <p:txBody>
          <a:bodyPr/>
          <a:lstStyle/>
          <a:p>
            <a:fld id="{6AEC74A7-EB7C-44E5-861C-D52F0FCB3538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304800" y="1447800"/>
            <a:ext cx="8001000" cy="4832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rgbClr val="5757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ow the relative size of market segmen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rgbClr val="5757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.g., what are the largest segments of the IT market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rgbClr val="5757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ntify opportunities for consolida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rgbClr val="5757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gments with many smaller competito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rgbClr val="5757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d the ‘white space’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rgbClr val="5757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gments that your company is not in or is relatively wea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rgbClr val="5757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termine segments to exi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5757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en-US" sz="2800" dirty="0" smtClean="0">
                <a:solidFill>
                  <a:srgbClr val="5757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e., segment with a dominant competito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2800" dirty="0" smtClean="0">
              <a:solidFill>
                <a:srgbClr val="5757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3780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efore You Get Starte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553200" y="6477000"/>
            <a:ext cx="2133600" cy="244475"/>
          </a:xfrm>
          <a:prstGeom prst="rect">
            <a:avLst/>
          </a:prstGeom>
        </p:spPr>
        <p:txBody>
          <a:bodyPr/>
          <a:lstStyle/>
          <a:p>
            <a:fld id="{6AEC74A7-EB7C-44E5-861C-D52F0FCB3538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304800" y="1447800"/>
            <a:ext cx="4724400" cy="4893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5757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tegories and sub-categories should be “MECE”—mutually exclusive and completely exhaustive</a:t>
            </a:r>
          </a:p>
          <a:p>
            <a:pPr marL="742950" lvl="2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rgbClr val="5757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ed to identify all relevant categories and sub-categories with no overlaps</a:t>
            </a:r>
          </a:p>
          <a:p>
            <a:pPr marL="742950" lvl="2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rgbClr val="5757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n group smaller segments into “other”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rgbClr val="5757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et maps are for a single time period</a:t>
            </a:r>
          </a:p>
          <a:p>
            <a:pPr marL="742950" lvl="2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rgbClr val="5757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y are not a good chart for tracking trends over time  </a:t>
            </a:r>
            <a:endParaRPr lang="en-US" sz="2400" dirty="0">
              <a:solidFill>
                <a:srgbClr val="5757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54851" y="2209800"/>
            <a:ext cx="3434792" cy="3000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6889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rket Map Data Sourc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553200" y="6477000"/>
            <a:ext cx="2133600" cy="244475"/>
          </a:xfrm>
          <a:prstGeom prst="rect">
            <a:avLst/>
          </a:prstGeom>
        </p:spPr>
        <p:txBody>
          <a:bodyPr/>
          <a:lstStyle/>
          <a:p>
            <a:fld id="{6AEC74A7-EB7C-44E5-861C-D52F0FCB3538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304800" y="1447800"/>
            <a:ext cx="4724400" cy="52629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rgbClr val="5757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et for ‘popular’ and regulated industries</a:t>
            </a:r>
          </a:p>
          <a:p>
            <a:pPr marL="742950" lvl="2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rgbClr val="5757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o (but not wiper blades)</a:t>
            </a:r>
          </a:p>
          <a:p>
            <a:pPr marL="742950" lvl="2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rgbClr val="5757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—smartphones, broadband, PCs</a:t>
            </a:r>
          </a:p>
          <a:p>
            <a:pPr marL="742950" lvl="2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rgbClr val="5757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rlines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rgbClr val="5757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ustry analysts</a:t>
            </a:r>
          </a:p>
          <a:p>
            <a:pPr marL="742950" lvl="2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rgbClr val="5757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id reports 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rgbClr val="5757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ny financials</a:t>
            </a:r>
          </a:p>
          <a:p>
            <a:pPr marL="742950" lvl="2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rgbClr val="5757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ten hard to get segment data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rgbClr val="5757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/partner resources</a:t>
            </a:r>
          </a:p>
          <a:p>
            <a:pPr marL="742950" lvl="2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rgbClr val="5757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r sales team or partners</a:t>
            </a:r>
          </a:p>
          <a:p>
            <a:pPr marL="742950" lvl="2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rgbClr val="57576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imates are OK</a:t>
            </a:r>
            <a:endParaRPr lang="en-US" sz="2400" dirty="0">
              <a:solidFill>
                <a:srgbClr val="57576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51378" y="1447800"/>
            <a:ext cx="1276350" cy="127635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5529262" y="3796010"/>
            <a:ext cx="34290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555555"/>
                </a:solidFill>
                <a:latin typeface="Verdana" panose="020B0604030504040204" pitchFamily="34" charset="0"/>
              </a:rPr>
              <a:t>GOOD CAR BAD CAR</a:t>
            </a:r>
          </a:p>
          <a:p>
            <a:r>
              <a:rPr lang="en-US" b="1" dirty="0">
                <a:solidFill>
                  <a:srgbClr val="555555"/>
                </a:solidFill>
                <a:latin typeface="Verdana" panose="020B0604030504040204" pitchFamily="34" charset="0"/>
              </a:rPr>
              <a:t>Passionate Tracking Of Auto Sales Data</a:t>
            </a:r>
            <a:endParaRPr lang="en-US" b="1" i="0" dirty="0">
              <a:solidFill>
                <a:srgbClr val="555555"/>
              </a:solidFill>
              <a:effectLst/>
              <a:latin typeface="Verdana" panose="020B060403050404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10262" y="4680124"/>
            <a:ext cx="1111076" cy="111107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33950" y="3110210"/>
            <a:ext cx="3752850" cy="3810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86425" y="5609095"/>
            <a:ext cx="1733550" cy="666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5014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848" y="1708836"/>
            <a:ext cx="8229600" cy="4876800"/>
          </a:xfrm>
          <a:prstGeom prst="rect">
            <a:avLst/>
          </a:prstGeom>
        </p:spPr>
      </p:pic>
      <p:sp>
        <p:nvSpPr>
          <p:cNvPr id="6" name="Subtitle 12"/>
          <p:cNvSpPr txBox="1">
            <a:spLocks/>
          </p:cNvSpPr>
          <p:nvPr/>
        </p:nvSpPr>
        <p:spPr>
          <a:xfrm>
            <a:off x="457200" y="1494660"/>
            <a:ext cx="8229600" cy="685800"/>
          </a:xfrm>
          <a:prstGeom prst="rect">
            <a:avLst/>
          </a:prstGeom>
        </p:spPr>
        <p:txBody>
          <a:bodyPr/>
          <a:lstStyle>
            <a:lvl1pPr marL="182880" indent="-182880" algn="l" defTabSz="914400" rtl="0" eaLnBrk="1" latinLnBrk="0" hangingPunct="1">
              <a:spcBef>
                <a:spcPct val="20000"/>
              </a:spcBef>
              <a:buClr>
                <a:srgbClr val="2B303D"/>
              </a:buClr>
              <a:buSzPct val="85000"/>
              <a:buFont typeface="Arial" pitchFamily="34" charset="0"/>
              <a:buChar char="•"/>
              <a:defRPr sz="2400" kern="120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spcBef>
                <a:spcPct val="20000"/>
              </a:spcBef>
              <a:buClr>
                <a:srgbClr val="87A634"/>
              </a:buClr>
              <a:buSzPct val="85000"/>
              <a:buFont typeface="Arial" pitchFamily="34" charset="0"/>
              <a:buChar char="•"/>
              <a:defRPr sz="2000" kern="120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891540" indent="-342900" algn="l" defTabSz="914400" rtl="0" eaLnBrk="1" latinLnBrk="0" hangingPunct="1">
              <a:spcBef>
                <a:spcPct val="20000"/>
              </a:spcBef>
              <a:buClr>
                <a:srgbClr val="E88E4A"/>
              </a:buClr>
              <a:buSzPct val="90000"/>
              <a:buFont typeface="Arial" panose="020B0604020202020204" pitchFamily="34" charset="0"/>
              <a:buChar char="•"/>
              <a:defRPr sz="1800" kern="120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1188720" indent="-137160" algn="l" defTabSz="914400" rtl="0" eaLnBrk="1" latinLnBrk="0" hangingPunct="1">
              <a:spcBef>
                <a:spcPct val="20000"/>
              </a:spcBef>
              <a:buClr>
                <a:srgbClr val="00B0F0"/>
              </a:buClr>
              <a:buSzPct val="100000"/>
              <a:buFont typeface="Arial" pitchFamily="34" charset="0"/>
              <a:buChar char="•"/>
              <a:defRPr sz="1400" kern="1200" baseline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137160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5448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3736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2024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1800" i="1" dirty="0"/>
          </a:p>
        </p:txBody>
      </p:sp>
      <p:sp>
        <p:nvSpPr>
          <p:cNvPr id="7" name="TextBox 6"/>
          <p:cNvSpPr txBox="1"/>
          <p:nvPr/>
        </p:nvSpPr>
        <p:spPr>
          <a:xfrm>
            <a:off x="270933" y="6409006"/>
            <a:ext cx="87376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smtClean="0"/>
              <a:t>Source:  </a:t>
            </a:r>
            <a:r>
              <a:rPr lang="en-US" sz="1100" dirty="0" smtClean="0">
                <a:hlinkClick r:id="rId4"/>
              </a:rPr>
              <a:t>Good Car Bad Car</a:t>
            </a:r>
            <a:endParaRPr lang="en-US" sz="110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200" dirty="0" smtClean="0"/>
              <a:t>US Auto Industry Market Map</a:t>
            </a:r>
            <a:endParaRPr lang="en-US" sz="3200" dirty="0"/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473481" y="1340760"/>
            <a:ext cx="8229600" cy="685800"/>
          </a:xfrm>
        </p:spPr>
        <p:txBody>
          <a:bodyPr>
            <a:normAutofit fontScale="92500"/>
          </a:bodyPr>
          <a:lstStyle/>
          <a:p>
            <a:r>
              <a:rPr lang="en-US" dirty="0" smtClean="0"/>
              <a:t>Cars and SUVs are largest segments and both are very fragmented with the top 5 models having under 30% share.  The pick-up segment is much more consolidat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5349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 Auto Industry Data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0947A9-521A-4AFE-8C3B-59BE50CEA4DD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4468812" y="-2464703"/>
            <a:ext cx="176061715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/>
            </a:r>
            <a:br>
              <a:rPr kumimoji="0" lang="en-US" alt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381000" y="1754914"/>
          <a:ext cx="3605648" cy="4036286"/>
        </p:xfrm>
        <a:graphic>
          <a:graphicData uri="http://schemas.openxmlformats.org/drawingml/2006/table">
            <a:tbl>
              <a:tblPr/>
              <a:tblGrid>
                <a:gridCol w="290949"/>
                <a:gridCol w="609600"/>
                <a:gridCol w="451569"/>
                <a:gridCol w="450706"/>
                <a:gridCol w="393125"/>
                <a:gridCol w="508287"/>
                <a:gridCol w="450706"/>
                <a:gridCol w="450706"/>
              </a:tblGrid>
              <a:tr h="23658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>
                          <a:solidFill>
                            <a:srgbClr val="5D8CC5"/>
                          </a:solidFill>
                          <a:effectLst/>
                          <a:latin typeface="Trebuchet MS" panose="020B0603020202020204" pitchFamily="34" charset="0"/>
                        </a:rPr>
                        <a:t>Rank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>
                          <a:solidFill>
                            <a:srgbClr val="5D8CC5"/>
                          </a:solidFill>
                          <a:effectLst/>
                          <a:latin typeface="Trebuchet MS" panose="020B0603020202020204" pitchFamily="34" charset="0"/>
                        </a:rPr>
                        <a:t>Car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>
                          <a:solidFill>
                            <a:srgbClr val="5D8CC5"/>
                          </a:solidFill>
                          <a:effectLst/>
                          <a:latin typeface="Trebuchet MS" panose="020B0603020202020204" pitchFamily="34" charset="0"/>
                        </a:rPr>
                        <a:t>201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5D8CC5"/>
                          </a:solidFill>
                          <a:effectLst/>
                          <a:latin typeface="Trebuchet MS" panose="020B0603020202020204" pitchFamily="34" charset="0"/>
                        </a:rPr>
                        <a:t>201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5D8CC5"/>
                          </a:solidFill>
                          <a:effectLst/>
                          <a:latin typeface="Trebuchet MS" panose="020B0603020202020204" pitchFamily="34" charset="0"/>
                        </a:rPr>
                        <a:t>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5D8CC5"/>
                          </a:solidFill>
                          <a:effectLst/>
                          <a:latin typeface="Trebuchet MS" panose="020B0603020202020204" pitchFamily="34" charset="0"/>
                        </a:rPr>
                        <a:t>December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5D8CC5"/>
                          </a:solidFill>
                          <a:effectLst/>
                          <a:latin typeface="Trebuchet MS" panose="020B0603020202020204" pitchFamily="34" charset="0"/>
                        </a:rPr>
                        <a:t>December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5D8CC5"/>
                          </a:solidFill>
                          <a:effectLst/>
                          <a:latin typeface="Trebuchet MS" panose="020B0603020202020204" pitchFamily="34" charset="0"/>
                        </a:rPr>
                        <a:t>% Chang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2187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5D8CC5"/>
                          </a:solidFill>
                          <a:effectLst/>
                          <a:latin typeface="Trebuchet MS" panose="020B0603020202020204" pitchFamily="34" charset="0"/>
                        </a:rPr>
                        <a:t>Chang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5D8CC5"/>
                          </a:solidFill>
                          <a:effectLst/>
                          <a:latin typeface="Trebuchet MS" panose="020B0603020202020204" pitchFamily="34" charset="0"/>
                        </a:rPr>
                        <a:t>201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5D8CC5"/>
                          </a:solidFill>
                          <a:effectLst/>
                          <a:latin typeface="Trebuchet MS" panose="020B0603020202020204" pitchFamily="34" charset="0"/>
                        </a:rPr>
                        <a:t>201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36585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#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Toyota Camry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428,60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408,48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4.9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31,61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29,96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5.5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36585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#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Honda Accord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388,37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366,67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5.9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31,58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32,32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CC0000"/>
                          </a:solidFill>
                          <a:effectLst/>
                          <a:latin typeface="Trebuchet MS" panose="020B0603020202020204" pitchFamily="34" charset="0"/>
                        </a:rPr>
                        <a:t>-2.3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51294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#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Toyota Corolla/Matrix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339,49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302,18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2.4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30,12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22,56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33.5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36585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#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Nissan Altim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335,64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320,72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4.7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32,33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24,81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30.3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36585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#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Honda Civic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325,98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336,18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CC0000"/>
                          </a:solidFill>
                          <a:effectLst/>
                          <a:latin typeface="Trebuchet MS" panose="020B0603020202020204" pitchFamily="34" charset="0"/>
                        </a:rPr>
                        <a:t>-3.0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25,33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29,00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CC0000"/>
                          </a:solidFill>
                          <a:effectLst/>
                          <a:latin typeface="Trebuchet MS" panose="020B0603020202020204" pitchFamily="34" charset="0"/>
                        </a:rPr>
                        <a:t>-12.6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36585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#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Ford Fusion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306,86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295,28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3.9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23,16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24,40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CC0000"/>
                          </a:solidFill>
                          <a:effectLst/>
                          <a:latin typeface="Trebuchet MS" panose="020B0603020202020204" pitchFamily="34" charset="0"/>
                        </a:rPr>
                        <a:t>-5.1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36585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#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Chevrolet Cruze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273,06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248,22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0.0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7,80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8,16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CC0000"/>
                          </a:solidFill>
                          <a:effectLst/>
                          <a:latin typeface="Trebuchet MS" panose="020B0603020202020204" pitchFamily="34" charset="0"/>
                        </a:rPr>
                        <a:t>-2.0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36585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#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Hyundai Elantr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222,02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247,91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CC0000"/>
                          </a:solidFill>
                          <a:effectLst/>
                          <a:latin typeface="Trebuchet MS" panose="020B0603020202020204" pitchFamily="34" charset="0"/>
                        </a:rPr>
                        <a:t>-10.4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8,86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21,69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CC0000"/>
                          </a:solidFill>
                          <a:effectLst/>
                          <a:latin typeface="Trebuchet MS" panose="020B0603020202020204" pitchFamily="34" charset="0"/>
                        </a:rPr>
                        <a:t>-13.1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36585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#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Ford Focus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219,63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234,57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CC0000"/>
                          </a:solidFill>
                          <a:effectLst/>
                          <a:latin typeface="Trebuchet MS" panose="020B0603020202020204" pitchFamily="34" charset="0"/>
                        </a:rPr>
                        <a:t>-6.4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4,88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5,56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CC0000"/>
                          </a:solidFill>
                          <a:effectLst/>
                          <a:latin typeface="Trebuchet MS" panose="020B0603020202020204" pitchFamily="34" charset="0"/>
                        </a:rPr>
                        <a:t>-4.4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36585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#1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Hyundai Sonat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216,93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203,64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6.5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7,92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4,47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23.8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36585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#1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Chevrolet Malibu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88,51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200,59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CC0000"/>
                          </a:solidFill>
                          <a:effectLst/>
                          <a:latin typeface="Trebuchet MS" panose="020B0603020202020204" pitchFamily="34" charset="0"/>
                        </a:rPr>
                        <a:t>-6.0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6,81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5,49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8.5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36585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#1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Nissan Sentr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83,26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29,14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41.9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5,39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0,79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42.5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351294"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#1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Volkswagen Jett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60,87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63,79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CC0000"/>
                          </a:solidFill>
                          <a:effectLst/>
                          <a:latin typeface="Trebuchet MS" panose="020B0603020202020204" pitchFamily="34" charset="0"/>
                        </a:rPr>
                        <a:t>-1.8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5,57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5,39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.2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36216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…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58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---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Total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7,935,16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7,801,87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1.7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679,30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632,95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rebuchet MS" panose="020B0603020202020204" pitchFamily="34" charset="0"/>
                        </a:rPr>
                        <a:t>7.3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7D7D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457200" y="1371600"/>
            <a:ext cx="3352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pc="-1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Data from </a:t>
            </a:r>
            <a:r>
              <a:rPr lang="en-US" spc="-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web:</a:t>
            </a:r>
            <a:endParaRPr lang="en-US" spc="-1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186382" y="1371600"/>
            <a:ext cx="3352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pc="-1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rPr>
              <a:t>Data in Mekko Graphics datasheet:</a:t>
            </a:r>
            <a:endParaRPr lang="en-US" spc="-1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38305967"/>
              </p:ext>
            </p:extLst>
          </p:nvPr>
        </p:nvGraphicFramePr>
        <p:xfrm>
          <a:off x="4186382" y="1740932"/>
          <a:ext cx="2917821" cy="3985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Worksheet" r:id="rId3" imgW="4476643" imgH="6114960" progId="Excel.Sheet.12">
                  <p:embed/>
                </p:oleObj>
              </mc:Choice>
              <mc:Fallback>
                <p:oleObj name="Worksheet" r:id="rId3" imgW="4476643" imgH="611496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4186382" y="1740932"/>
                        <a:ext cx="2917821" cy="3985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797545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12"/>
          <p:cNvSpPr txBox="1">
            <a:spLocks/>
          </p:cNvSpPr>
          <p:nvPr/>
        </p:nvSpPr>
        <p:spPr>
          <a:xfrm>
            <a:off x="457200" y="1494660"/>
            <a:ext cx="8229600" cy="685800"/>
          </a:xfrm>
          <a:prstGeom prst="rect">
            <a:avLst/>
          </a:prstGeom>
        </p:spPr>
        <p:txBody>
          <a:bodyPr/>
          <a:lstStyle>
            <a:lvl1pPr marL="182880" indent="-182880" algn="l" defTabSz="914400" rtl="0" eaLnBrk="1" latinLnBrk="0" hangingPunct="1">
              <a:spcBef>
                <a:spcPct val="20000"/>
              </a:spcBef>
              <a:buClr>
                <a:srgbClr val="2B303D"/>
              </a:buClr>
              <a:buSzPct val="85000"/>
              <a:buFont typeface="Arial" pitchFamily="34" charset="0"/>
              <a:buChar char="•"/>
              <a:defRPr sz="2400" kern="120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spcBef>
                <a:spcPct val="20000"/>
              </a:spcBef>
              <a:buClr>
                <a:srgbClr val="87A634"/>
              </a:buClr>
              <a:buSzPct val="85000"/>
              <a:buFont typeface="Arial" pitchFamily="34" charset="0"/>
              <a:buChar char="•"/>
              <a:defRPr sz="2000" kern="120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891540" indent="-342900" algn="l" defTabSz="914400" rtl="0" eaLnBrk="1" latinLnBrk="0" hangingPunct="1">
              <a:spcBef>
                <a:spcPct val="20000"/>
              </a:spcBef>
              <a:buClr>
                <a:srgbClr val="E88E4A"/>
              </a:buClr>
              <a:buSzPct val="90000"/>
              <a:buFont typeface="Arial" panose="020B0604020202020204" pitchFamily="34" charset="0"/>
              <a:buChar char="•"/>
              <a:defRPr sz="1800" kern="120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1188720" indent="-137160" algn="l" defTabSz="914400" rtl="0" eaLnBrk="1" latinLnBrk="0" hangingPunct="1">
              <a:spcBef>
                <a:spcPct val="20000"/>
              </a:spcBef>
              <a:buClr>
                <a:srgbClr val="00B0F0"/>
              </a:buClr>
              <a:buSzPct val="100000"/>
              <a:buFont typeface="Arial" pitchFamily="34" charset="0"/>
              <a:buChar char="•"/>
              <a:defRPr sz="1400" kern="1200" baseline="0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137160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5448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3736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92024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1800" i="1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600" dirty="0" smtClean="0"/>
              <a:t>Building US Auto Industry Market Map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3180251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WLjZEZIK5v2sdSMyXo7wMKxjt/7/TsGpEzSWvalgUc8nTwmNqGXWkREcGd9e45lHlSOhDMcbYk2eavsXQo6Kww8c0N2QEHnM7qua/c1eMahzuXKdqHp5Caf2pIuu4LFu2n0iRr8eB6ba19064zBsXJhMcyVEHOdVXrUZHJTtdUfKaM7mQWzrWGeP4ac3ju5WYxBJ4/74nlH0lqjGXyIZY9UNbsaEAJh2vk+kr7tuFuFUdQHX7UZjXogjNfAFyv74WOtGjg/2RKniWzpHyhmhBfwbdvDyfUTqk/ObumuA4DFCSpVL5K1BDXIA/lS7Odw6u2X0KRaeobVi0dVoNvmlJAo0FWS9N32mVDKY7YZ25V+dJwl+7CNKNh2I25pvL6Jo6ngredfIs7kAPYFvShG/5fRZZFVK125oR9guOVeuGLJ3QpmPeGIGhFMBVv3oG2MwJQfBMcI8LoT0APuDTCxa0sOUmRAhtTojpFRd/XixD8O1UCzPWRx8Ju7WrQBhMupXF/NBYJlfvurbabN89aoqlkIZAhiEI4HA5Xx56K8AwOqUFyg5qUOCwg5kuX5TptsZWqMsKKyaapZMjVMD/eXAaFmghnpr0x/Imc4BiHQ79YEqSBNO4J+PTtgwpJO1i+PG4q0kVO6JP9pBAP0uqsFkw5VDDpKJsKrzVVdCnGHFUob7rbrx4jhEzR1vt/KrJ5dZAVYA6x0oWF5AIehIaS9/zoColCnQTUdRx0dgoI/OEu+g1ovEau6NJhWvF9rYLsvRNIQnzHAESVSDLw2erPH9EZjBmjNSIw7iwJ+SzGF7bSBaJdsnNiEmdf32GxIyuBztnvNG3zGaYvdo18v/QpzQmMKeldOeipG3YXrDl1F4bHy//odHEfjHI8jS3WyLeluVtfykfQFHZO12WLs/liiqvhGogW2X+67PNKd8RAHsqo1/IgNHX4XfFtKzFxyfVS62MUuqDh4Ykd/oos1bEJzFJRY4eYtpfaMq7EZw8thb3I7K6IVw9JfASqQeKVd0KWFiuO7c7/KzuYQGmXwCWbv76CcBm8lS9ldGCgnk5cnDQJuIM+SY+As4PxGEdmDM7QGlMXHOFKK5ZU4zUUkebKPFVG8bebHu1IxFkayXK99v6Gn9Fds0PUJeCT1tyGW9cWVX13ksPabJkxch8pOH4uud4z41d1msA2qE+1VnYahlMJPynKQ2A973eMu1vcJZp6pThU+tIqspSNV+02EZhiU+QukkOUwwOkCjPK+BiMxrUl4GpOKfVsf3kUjhTwuBjW6m3ejgbuBOQT7pZhDToRe/lhDEkvSL+Re6++eH3QNsuHa4xJHF1dv9C7kgzCGhN6tOoumV3dxDDicoFYeNTvm5AWVCFj2TU+m6Pj7ebHyagqWaFTGTkKgWP4z6Sr4pjTDwgDhLGMQr+eI+CuL3q4kMwVhz7zQsiFQgKb6LcADuLhopp1YBY4I5vBwPbX8kPmw6rgBSnPpJR/fZLjpmUrF0VgV+bRQscOcVeVeu3NB/3n4OuP6zAv7h2NT/sK9O2x0JRTRL70XQk0JhVNNZUPJuHIjqi13t2Yyqf4gRGcy6l0QV9WTLARrSSC+RMF8+GXrGm5AOl1AhDgxbAm9lDaQDBnWQ5v0VB2sHRKNZQ/MWWIAaaPRRW80VrWFU4b/bwWoLjZbEvay2mwnvV/P9wET3PuKnvLIinR5avLumQPez9YaO6w3G6+JI4cBCDYts0YWc5KCnyWG1fNPcyTEBxxsML4mcPeYOOAXboDnZ6Bt2BkyD3UZotGn9G46/LKvoB1Gok/Zapo7DVJ3HDOuMUhypqqIjnNiC2n1GDyA4Ba0XvocpF6DMM6NwaG9UYzw/XU/ZaT9k3tZxSGerfWjlFvQkoKYhhvQSfO5he/d3E2IrsGrl98SEBGO9TlgTMKZnZSP46c/y777aT8AXReHBkej8JeK1cvv2+qcLjBtcn5RWl8Kv68fpMJXw5Scpk7xKTb1fCmi2OEz2tshJTT4SSqQsCoQJR75HCZtwoDi5CSvdb4b5jxB0ATVTGG4zaYGKhDtEOtWokF+nyZIxQ0qLZeAuBIlsa4OObhh6ZiAG8ahdgQZKsvp0x0ZBhOPft1rRWijmWGWt7pXMIj+OO2cxcaBGQNTBkdIsWHFqQol8Rl0E+ALJQEAiBsxQ60avOeJTVVG4BIz/KG1/FdofHAdbJ3kb5E62+KSWiIhbODnEj5Zzaa2jQxnZKGxlukYOo2lL1ZGpNXYe3/Dk/mBjoqt03sCmC0xE//xZzkiO6lYPZoQvFr0F/4LPXWbOS2F2gnl2KARG438frOrcHOzxGKLL90/b4eIdI9c6YsxaQpPH32dp/+rBnAmE6OnjVtsqLDZfkfqftyddfAtYqewho0AMq2R61hYeBRhUNY05i0V2pQjCzCDTZI6d5t9c6pK6mZZxgqOXsJGusOf3t94yPy0R2nZReGp1yRbNUHIJMZWKW71XLLe+YUl91Y77nqeoWsbByPc3COL8OTu/wwSnFZzwi/yP8ISD/ZW/ziUQRbJBUPJpqGyOzugFqqWCjE2qoONY5O1OWBHXPy+OE4HBAE7kV4jRcLJgOiu6vmu6dySsm4YBsl5rxBckIj+81GMktrP00iYyUv/FvByl0SBbZLubS62K7/bOkslvOmEBBfOoRV3/3P97mjKKqKCgLlwreMAC9oaGEe5wLrRkk+2yaYUdSJgYjeniGtqt+3SnooVUoq7wZWmU2tYqtmUMYjZ5l0ZDH4EHFFad5HbBNhjCRsa2tCF8RZyhq1FnrYpDbDjuvWYqpzPfERxq9/X+N2rBQAgg0izM3CQfaUrdj816l4jizHk9aqg73wSSHaNPFCBg7Gs5CIOt6FevVK8K80Ws4XWsP314gDF/JThjERvkN+eXZRuE2UuQG9TKBT+1j+iXtuKTCHjQqOOhbDJAyFhXwYl3pKi1PqzTOLq4HQIkh9U0/x84SlnBuqxQQdMPin/IrJf1auqCv+jdYEPggGly6Xj/iqQL1c9S3tMopVK4WKy/4dH3LR/2IEU+YRPeN89ljThLtmJTohwfJMaP5vDN83UrCa8Yd3PbihJZzAqLyYcChjrC+qIsOHd14QVbhTqGPFxwPuRwebndH+lAeICHSfQ1wqtdsziHjDN35nxt3ULdpszTiNhlHk0F547e7WMX5soRShopz0SHWDnJMUFzJkfAU1LW2jrlVNbpeZmtfsO6ogsIEc53XpTZkVO07xyaCjhI6F9n9UgkyG6NziOSvZvsdKwBOJu99JyWA4PmDpUGwQKrXDCbyZrI/d4y1Mcs7qbrCfUX7NMw8dNrpBQCPdYs3j5VZ32TKwk8Her923yZkDJO5PBoZ/Znuro3vDcvY+xbbNxjsJcoVw8Htb/ynLU0cchf3qsDcirYMsv2Ikpygi6Y2SNS5rHFxcm3dQcAIuDBWgP0F8hjtzEtGz8XxF7VRVDS21CZXNvt2ljHJAZA6Xp/0nv18hKD4ijqrgs+WdEMH3zxGFxgWKPD/Hz1CX0oNuQTcalJUSUw1OC3K+olSIVPhjhtHgFQATx5ALa97o5wzCMrn7CiKonRinYMmBfTCxtm9lr2+3zgUR9FfRCWfjyekBELGBXoePzYFDYdSol6ql4EGjZXIdZRZRS1NWPFQLrMQqi2joal9ifPEsuLkJcm6UxcZKOcmmnQZgka0kGPrOZftFpAshbI0drVc9sxJDFow4puX5p1fSDgTM4nzQLM3HkEF+REGVcdtUjFNPAsE4qcTxdm7qhqRsAOLK79C6+I1BZwA7JgZ4rR5rz5BIkz4P6mK8O6XO2aiYh6TvpcOQC6NhOtjjBAgBLXyRFytLMSFpERIUbu8oEQEm0xJqfm6L6LP9BeWCOLC0FCQtTq7/jG2eTKNZq6sCCl+QzInu/Bkv7Urhfo9uztuimidNfk8xbVfjCj9x15h803OntsL+JOe0MyXl/ExLIRGGAjqKoo9sMnV84+nzNDqLDDrielR7je+VR0YYad8eqgnFvjQWj8sfZNpbNUB053HedTnbyWwp+Af2W7aZlzVBpLjRNVASG2Gaz5gX9OSllswHvDASZJ4sDKs5tyVPldFsFuTfWDyOPpeRx9fNaVZVGCB18AFEwrR5Y6jymQQTGsFOd9vdwD704ZyfWsN9SQbmHHMhnA/cldrq2wDjUgi8fKCo0jmk5YwNaA7GwtVN4TOSavTNkUq1/r1vmVp8lWsMi4aZ8QQqBzW881B3ixr0ZsGeqYlu9tELCO67QibhPprXQqhV3LSvj+gyOgF5Gg6i51RSgOE2VRN7vtONL60gW5J6PbSUZm/87w23V1O+HpsT+S8QqzhD5fvIhzvG0F+qClYGw9LJ+6irYFFtIpfsh7TgMwQ5WnR+RJ8v5heRmDwJK5sJGaz18ptzWw+ZP984NJN5gNjqN7WkZVSxIRjyqW+7RSBLhokJVXdAWv+ggzyDBdJVrxa/fhvvn5Zzpwozoz7L2wYoz6Lar6sAifUT9743CtE7H/Oa3PJeCwGqC4anqaJJc964X+Sdh/WYWJ+qjSGkCThsGOL6JcYQd2Pc5z2Hud2yWDUGOfgFHEbO8oA6h0UbMfmcnj7oCZaaBS7+d+ybUpqOmDp4va7A8qKqPtzJGxQDHFaCdn4SNMoHTFLF278w/mHkntwnQ9GSpAjTx1FP9UT1ChS8hdCWdPKCiDRIXRKmJb42R78wI+vTGTmMLgaHOdRyJHIXWwe+y6MvTYh4c7RRJus6RpOek8eOphUCwUgvH/n9oyyqckdjc5EhDWCHlEZ7wLHQDZCtPNwELtSP9onZD89Tuw1I8tiaCDnFhrPtMkXzOOeYLJxsX7s+8b5zRj8M9qE8+Gkihz5fei8kzvR6Ve3WFddnNg4980Tj9jRaL7llPEYd8y7gG1evHTD6HWmlWot5UnZUWlgVAKQru62cb5qz225qUVWOrCDku4YeibMpOncnnqOTmsQm6Azda79n3FElcwdEU7yCCUhDw22Hyvs4H2hGGiZVbKeMLjgG/J0mSdZXBdrA6gcnhgjSgzRjHrEPIT5eE/QaAXHFXgc2UciwvRWX7TzNYYAABylv+yvvjVkLIjmqoNrUnowWYkBWjOlImWO/I32r0FUcuDtE9A8QafwZM+BbZZvwb31qrAmHnnI7KKBRAVzxEe1SQ+3dA62CPvKA80oVfeqTkKdRj8EpJZozmRP4RXJMMIO3+6pw09ADExE+w/6Gm/bpHxpWIpctATB7pMXu1tHehkNCxIdpD4LWGFxcQtGXA6kjaeANV9BBGd5fdROQh1clGIH8Y5Yjjnto+wFlNIW+C3nfWLOs6ztIOA3NtdUphD8mVnkJA0OmPB/MtPav42Pb8kAq3tb/601HqgduZv2bSh9cwzH4dY/ZUEdI9Nf2LcBugoB9f109PVlM5r7wTjsm3lKThcmvYEPKXEtK5jCr/JR6jN9qOWz4ljpy6QPrRsAco0cy6JBZNPRjmN4n4k+UMHpjLbVCE5QDBlsrM8zbUADy8cNNQ9tkY+sr7UUvhwft9ipYSaOODFs56FmRZmgYqDXkj0RpcvHenJV7EmCQGLRsQ3ME1PkWES20PpPBvOT2HM5/UBxTUuihTFS1aJ4O5htq7GRGK6Rp+MqdWccjF5njynp2j8nooTCc7siAK5bgLGSDqHOMCfEte5hTbyVnxmAhPRaAyBkIkKVzhBLCR5vIprL9WFd81ELVgEJISBpKZO8fI1h0aX+/WL7TAYUrvqp8wyQJvS4BXQI9KQWH61OxhvsrtqXXdaHqywX1G5VVPzVOylr6K4obai4MfnO8bXFS6vFSRNTibgm8gscSNebOLj5aBbQZiOjfPpxZHdvc9sW3PDhF8/zidzH8rcIPamk0I94WU674t/pdtpF9XnGlGs1g5G5V8ZKj49dyq5DLhq+T33Viu2oDi26SwjLyjboKB3cyHPx/EgHpauqsVBrH2ua6/AISjGYJmSnSMhjUXf/rrwszxjB4msKhgyfd68CMgoe2u0qogCELB6eziXOFkIAD0fdCOZ3GUho31GBbwWI46KM9naAl0Ro+V153mMjwPnd8uMkKRvWBLjB/KSZFStLQnYCma5w74rT4OoqTN4Pg4TSvmfd8qRLDfl/F3bR0jdi4V9NSYIehCLQLNDReBDxLbLO7xC82nAuSF4FwYDvtx5k9YXhhkYX193Ms862MOf7ihV2WIdvtyR+TB3Th39ZTErwU7tZGslUOZQknDSBOcwp39wpVWSaK+R9BVLx2p8dYa+JefqVyWkWnFfBg2OZgB0w4D7KZ2s/gE58WmA/YK65+SogtHxwi2YaxKDTBXCdBAi6IRDNN6TJiX1lGrIPZL9AE2KKGTtD6bO7vMx1esAFCSm1rxiMK/0a4sbnb6Cl1h4qYDfU6TyRkIuxBS6KDMiqLjfo1TwjDcj0Jt2cFby/VE7rytGGDbYDM1ydT97oj0dZPbx3l2P22DkpANE961jC8T8PYggeE+kZj5z4rRsZktrA8OaEibbJC6i9OgjPjIxYEhauzzLVb6Vq+/MkSn9cPi3KRZ4j1fMRrxK8/hCbarsBMEz3S4e2FgC8CsQCCAgECdW2A2l615ZmyZMXF4MVtxmY7ygn8s8Y/hH3gTJa4tbe4v8RJ0XPxzw6daZzEpPvaA7NHchfQjHOlPiQuJ/kogirEqkS+x/oYDqiaE8iI6VcIx5tbcduvAWpyqDc8LG5bCc7gl8mq47uq2ApIq43WGxrtNL+NuKukjjjFF4hdWuqIm7phWXsVlucQbUFGOdyfUEgwMofoc21/47SI3eFwnMqeG3cUIslWCvakTspojPmx4FqlsQxMUN/YzyTFNWOBv0T4nFL6DMKYufPohsh+4hWa6KhAmlcm/0cuz23rVtJc5htcNRjh3sImmrvc85OowG+I1euPQ3X7PUaNrGBbtNKfKTfqFLVY0t5XA1Lt2tGGiAYj0dkJpgdf3E+sGiyLwBDbEEAjVvpwLrSeO/oSKXiNGyg2jXGh0RMENWqvrtsAEmVEylfp27SSrOUcjxDyp3LucQLaBY3rBRvc92FLd6umE7fVSfjN47Cvf2Qs15tx/0C43y8sxu9lOvMEFYeO4YQAacGKBe8hTUkMlkSxdWGnnkcOHu8I0RZsRDD5LrTRifs4NItirrYYt0lRCduL2ABISOiM7LVFm2x6iUyAxAfT1dkitanQwhp+niAK6aOazJxDxyalaTZVq0UgtPriqjdZcdJhpkyHycEJsdUsTmk+OF7eLb7L191elhZWS1EjvHFh+rei7ySgkaBPOvDblWvxR1+mEnSUKc4CZRQT+p6wWRhbUtU/jrGZRU6qWO2Yia6JeVRJI2+Emv9VYwSX/wfMGfGWlVTxE8izhftVmOWpYDYiUXwbVjiVKVte4pJci8yQyxCXwHREGJN/0KcyAbirz/dlTUalVqFYuhcnhE476s/oFKZj53M0tIz85m3SLKzLcE8CMJRso4e05uBOJAQRfaZ6kz5hoVuEM6olTd3RUsO0d+dC7nggZEe36QudHZLKG2eqDhBRpxLzawQC+sX5T5HCq7vskbGqrzkna68v8wyxT7gVWai2kkgAubH2MkjITdgm/bju+nN3WAj/Bt+JuV+FiXELhMCG/tgYagh86v5RZEzoU13MaYRErC0Ra0t+ZoL5r2k8KvCRrIp6v1YqaWSoqwvIiHwVFBqY0pgn4WJQY3wEKGgDrcsUPRwqEdAk1GMpjivLWO5+GOkXjo9DR0Be3WESxZKmgtZIfYbYxBqz5oVA0JwVWwUdz5L146aYaO5cuwUvakthips00OEfNcrRpusLs6nXqN682knUX1ORNl166gXyZUCEtatauxVOEV54Sl+eLQdsnWDRssdUXsqTn7e/ezHh6d84ec+cm0T0mzBhgio5/opmNw6VW+6jJc/c8spNhtQFDR0N5dBpRWkn+Uymy6mL2IRqV1C9eKH72tAqU5y2q8G/AAr1cMFIVv3/fFgrF+HeIFyN/SaLtmMwp47PEc5IofWQsoD3Uz3zfQfh20IHC6PvdZJXpPga33wtFzWhQAfZ727VeEcbz2F7rLZsCosSyXloP5Bbk5g9xUsmeVtwFod+98QfeE7sDSmbOcN2oFgwC0flHO5i/AS/qibgYYuQf0MEaAso9OqbsckqmPIVlWDxD5Y/5GfPkKjGW4tb50ocFLwflMPBLJmsZxGdzfNCMAyEjVQWNmOvGRgyUTD9ta4aMDkbOH50QuYC77cWj2+VwDXxZch2rdj7zZYi7wNavYZd5202uHfcru8i3/P96Frkq6hHdNj1ekIHsd/2BlMJHcX2VcPf2mIHfqSj0hUzWpuPvkH3slOeTdU5mm30kUthtmeeIlYty6QJhD3mFEFO7/tJJhgGUlGN8cSqGthS7Ke5CB11aaGfptN0pswYt4H2pvny+lIbeRn4qvDs1aSwY0DXprmMDUURsJ/2iaUYWI1H/AYKniDaGBLaIbkQi5hJdoUn5tBp9dNkjG+5II9UOBsnzNJNjBCqDVQUBPe+y6L8aYthkWjtEyVuphF0cvLmfon1znVhdnYiK1yLyelSSvh6WIK2UDxgKsm6g5W/hJwrhMm3ZAeWb1VPzyMCqimiEHpf7LA86vyv+4jsRugN841cF/w7YCk3UhsIP1LHuOcb7xhxlcRCJ2wmlCvoTeMUV6NEv/cHZLnFVRw4VCiXkFE1S9Ayc4kfKHBZLQNcLJFR3pI2odoHpYOeKRLwFyme49YiD5CVMQgKvnEFgwbkunXgnXH8ppoZ6YyFdPDKk00c7lxCNHYvVjFrK5zUy5S5WbXh+ZjEBKoRfvdO1KmyeW+74PzAc+wjk6w9hWGZTBpQu7HY0y6Y8kuEbDwkNeFaeft7AFhxK7DHvndUu12yYKZsTKO0pc31VAtVs+/k+0RsCiIYKfbcXsEDUarFOYbRl54bofq3zYQWBygPDvFfE5iA4dIV50I8uRKp8EuO39J1qZhXkikpq1lWEJEmk0kb1zOMSljchpc40ajE4v03DzSQZ8mXM4PnMHdlKF2cjZVe98+p9UPtV4Hr+p410Z7ShoMMXLr/dqS9yl/+UuSIP+8MbHJy4BGB2JZsOtWrn39/V9x1/0BMY5KVtlczacRUg5bxaaj1gxn4mX9JWoBIyRpTStvT9urjpeDP5jqIWJA5y8U2o7CNN2BQoTOnsH3GYGLFcJ3KaEpAVUF5fcUaxHQIDScm6AxsXVRg92H8jTzw4mqnIHpCsXMF4Fi1muY9Ex5b5nzvm1HkHcXKh1BDkWaZ8npB+hCa+ZbS3AcDzm0prYHNTP261WLSZVrRe65VlVEyQXrfng+rahMaMAeYmGXSLOWxeEAWOSbsGy/fcdzaWt/z5bkN3WK7Pr2W/xt28k290YbnX6Er/IrWbpgbBJqcp6OHEV0NBWzPOZMEJQeMhIiqCs9CpG70Fj7ITZatwyAy8YONE3yc6NktAFwikOrHDSA4W/razqRYoMFJbO8NhS6GNMHL8NC8vg0qSU4ZtRanvTJlRvSP0lRH0ktixev9e2IesRy0a+zv+wZoqNCKzU+XxA2et8X7wkbi8fC1WJLxXEc00YEWkJwfJbH5oQ3g4sp3l+4Xdir2M5QtC73CGaRmFdt5uSWdrbEXkz21QYGD45lU92DSsXgeSWFOq8Zr0SWKgBgh9kBaU4PD0YQi7rRvXcwNqOAYm61QV/9IaABq37QJ8JhJSzT2WevudSnH1xzeuZNoQF8meQRPEHTeWQvpxwRhjbtcXkvkn+uJpsFDyL6EmGq55lvnWyQw0ixiAw5XMSeH1uozHu3yPD6VgEqsbA+zjzl9DWMwSxHBuz+jCynDilj13SUrXnq7gyF5dsecyKVJzyKnzev7YW/zYEq8uptPTHl2tk8izll0Nm3UlhAGLYo2N1N6jG480Pt7QijEp7mkb1ZAO3p8+5GnrfLcybfCMcV7qcCBU6cAxZdmeTsZEAa/TVTiGHfTCsVigMUqsooPXSe3ScL2sKNW8Nd7rBkGfk7wcRaVRu9Krh2FRO9ypnUnjwHeNY40jaoCDpenGAVUUKlVd1J6JZPdTbC7o0TENFx8AF2U6Od+HlssOTRP5Mn7Ri1rtiHIBc/8O7IMrDp7V2cnv2AKAo4gBJQbOK34bWN82lA3HURpGHpzNG3aWeHgqDq8Pc4cwM/3qThxXQRSzXkqne3C1nIA+Nl2AmdWTU0LUBVwiMTdlk718vONfXgaB3Yy79NjgfOag+5fhgOYtlNlmlAyIy2Ffbp7FO73BLBxCY3kXeAcOYb1eW0kJB3EopzClLAitLkFgBloZaVK9HcWVLrD8W4WyM4ypfC08lz4ElOOTfoa0dcWwYy3d7kgkqAJI+frGFgjm4IDy6EUo/PQWELmddnS8M8b1TEBfdL9IiocT3lYUrmlLLJoGgOfST1adRXsATxV+/PvzoLbcjtkP2jYHVLkSAsdiYxhiaYoGLqRQrRsNKzc7pIwTIV/L+UdMWo2DKvayCueaKWj6wsv7J33/V7hlvtdfWjldic4OtWLi25WikhnDEWyeEs+wtzkJUr/QiAxGq0Wtfc4q2bQ+h2mkiHpT0L5KSYEvlik7zju+wIoxTWEzPK4vxMRyoYuLPLaeoVrBiTUf+sbEGHABspDQ5S5RSkeQ+Xq46j6M13YCS2JnO7Mo1HNh7YMXiuVdWublYsmMdT7QHiGFghLp4c2k7229/RF+05HfC519Q3uCkPZg85Donm3dSJMmRZhjzEgrbuMJLvxDeZIwyNI1pDriSJNoE7W0/+mWVmjb0zOaOM5HopmY1MioX4rKcTvKiAttkhBiKk8vnIzm9JHNQ3yUsaprwjdxabTq1Gsg9SQob4z3h6M175xRBpVT9t6dH4Dmb0EuyjR5xNmL2OGMUh+6RjcyzWvZC2g6eOx6UG9kSvMTDFrcDl+fUK17eowB0xhz1wKcW4pKx9vt55CC0lCHNx3SpN+tLx8NmjMVNEN8jwKAuVlDxkS662crvqd+vnbYkov4Lp36eIOfC+880GsuIemTw8/SvMNi+pniKWu3WmIPzvZEp06EtYXoivvjCausRGmFwYwkjGC8BNPBfwJ/Edd2VW9n5PHbuQwM3+V3ykrU9yiQsj+1c/ooZfDK6dub5l0SLAVfB+s5ZrLn9Dvx+SnnX9J4ZpWEY8x70Lki6uOO0Q/rJAQ30fr01LIJoUjIOzFIFI3Ir4pKMWe6liReqOt2qXQPOkBNQpdXiCbw4uusHyVRFc5exmDA2IxulrtqeXgMI0ISSdKpOiLczPxMCxx/NBtKRe6khW0WwZ6B8jjoSSL1iEkYVZ6P/eEl38ycr062hNblIAFmsDmHgGwSR00MeRnXt17mOTvjtJgEAPg4ijz+WSPXLOv5OCD6IxVKz8S2J/RzhT8gH+PBKE4MXIZaecODh5J7V/2iNgyoJa4P9qTX6bWNhMTeRqCf0YB54r5wqYVPxF+aoDXScLUTzmneGYE1b4Ufcy/wD+q1+UP0uaLIWcUjZivKWBxb5R+ibQbQKD1emjwRJukbUGPdzwcMYLY5G97xOR8uxQu2upkFlxfvcGMUa65p01GhPXG9bq0s5SM2iR7jMmIA6EmmsKRsY7eM9IC/VviPNBfK1GMhUwFbIja7FQX1kvD1CGuhMRHg4nZ7ZkUmVXigEJ3bB1euNlZWSjzMOy5pDboMr/RiPLaWbdqOJ+OoKFR41poOG3nDAbwr3sizib+9skeyESjwvBAho1h0gvuOQe61xNllIs0RN4cUdYt3ZEYWePzVY7snwSwprimuTxgERrE1J3XrFoGm0cKJfdFnFM9uLtzWP09KGvTTavN8upCIpvu5wAfracG2CZEo+ezgKUEvdmO6bV/15mk3SREwnckaBo8aXTgmZWHJQORm/pVDNT84USZ5TCLGEzndrHQiS+l/j8+j/ySg0DsZBFTDpPZXzaYJsaGdnzB/PDKi8Mu1s3/R8P4ZG2r1QCTn0vFHDj6aG2kA4dUYwlaf/adC0FrAY4kElkzsE8ODed1/tLosXmURqaMLSNCAOPk1Cc2q3llxw9tdmKSQNUS4wBf9hEEd+3z3iKia0t4+Xo2ByHVoHv2/cXAANRtHQ2+4URKEJ+KWWM1Ynz5SEAwRMRN8AdXLFJJ8CnGfy6WUhAIcAhSNBe8O7sW/jR7liMpWh0tVBHyvxQnatVNaT80sCAb/Ilme4yeHqHRS1+devYfYbq+tkDdy9KYaVKPRWE7ZkMQp9b45L1Epuiu6JzRgTe+ICualqsnDD4dKa83qXi9wM7A8N66x6Y/lhVzisqdOMvdPAfJO19r++fHq64+Q+gjhymNmPz7jvRKq6hyMsqEAzmd9CuHHjus0tG0M2BmjQDDGp2kzcwug99l+R8q7+ekeKvS+hn8PrBds1enqR+2kfUwlCGlBmnNJKkoECF629JXM6POKyANk9AKIt6wZDzNRtdTk1ztm39GRgnzSH6FzT8GvKiWTarqJm40vPJbIBYzNb9Fl1Wqig4Vblw4lRaSdvkgB+iI0tGxPBBsPOIMVJPe45W0cFT4WIBeNSZ9FrYdQ3rbG5d6ZIButR8mu9+KMCvKNk9lA9uG9MbAc894Z8b7CGs3JM2wfThr7FyR1iIiBCYqAqnw65+Dal+9ZCXplNmluxBqFsO/Eux1zJWsE7/CdYSX52R/TSyEUCqGj6tREiNH/9Flr6GpACPQ8QjZFbmd8QrEVJalIvUvnRhJpSRCg8cR5bmC1OytUf3s78i/AxYy3Jj6w3cqELwDeEVbondj3L174/ALJNefrsaRSFxFopn9rsBQBUp/wOSy0TFhysrgvvy64t9UIdNGrPzeyi5opwLW5FJ1N/3fBtJgZFdipxHOVgFR9aw9NGOhIOsHhcxQKLYwo0sAgo0F+x8FeVM5SyBoup5LZrqT3HBaXqjd/lfrI+QXkUYwmvNbukZfftL1h9lmypAgAfRTAcmRycupYXTKRGJFBnQpDKd+7PI+Q1QKXk3mlHfUP4WnkG+n0tkQP91RBsq57xoDTFUNBnz1wlAbg+jHeqDt5UMZjZhqRmuEtAY104h6wR2xY1LP9j6BVec12Ljnxm/JAzWE/TTtDS7HUjquGtZCBioOvoQxgxUgeb/mIOMkGMFAMkH5XDQLLEYtkHG20xqLWXzd0TxNkmULkoBYeHsAsJOnGJYU7cORllvfsdRjBnyf+OKtIrWIKImXwD/FY8w+mDfUFhqYEMBlKzGdgDES4Fb69pqQXQFUVpcqVBu9yCKdTmZOTim7SWmcUHbi/QekX5s4QA8zZy2Qhen8VMOlRmGofaVYd/c0VX/Mi60/i+KwjUVxGT33LxHA46GNQWlGe6QIif9yzQyWv2LCOo1sNYilFXFoDkwYlBhpPerX3Fi0Mtf/mooTyJRYY3rP6JgVA0j+LEvNWenbGb1049RCNUnAQzmYuMJpZu++V3kT+K82vJGRZ4g3gTWHMkmZxSK+IRHHqE6lihKQwH6dKom5fabcVVFvquo9vM9qXmKHcqcip9GKl0AbxUgB5I4Lo2aEQmP8LLCHZe9rtdzrLpI3415wVeq1BPsF5b0W5XoLe+pDsn1y19obTm5N8whNUY9KcYbtwpafu0OkVZoo3+GvuuAZpj5uFW7gx//JVlFtnI1Rd8ohcIyc2keVxsZ1fGHxtUI0mxn929bzBsvackBcVx0OFBzOAAbUddP2SsKH1i4jLXTlxuNiCaAbM2TSvExhf13sAguvfI+2lfWJh3inktK+Z6JtcKN4oYW2zw+yVmiNV7Dvsu6255zZmF9XQVGxYkDdESRyzl3SkQ1OQjGt5IJBL+TiZxLUyb+jpbnopYHem3BEPSDwPaZML6JYWWQ8IfUrKzoIZPNLW4Gognv8sSsA3/E2KjUCu0hDG70DSSaFczGPZqfjnP1jGoBarrY1km/MYcgYm+28F36Otg5E+Jldwq3/o42WdXoPnRTNptTiAdY6IRq9LZFH5YWCYGL1Xe6k/xAPEvOrsBVvpCcO9BjUj8s5PqA7n+rRFZfnPZO70uGZf+guUdGGbgaJbAurfRr5ICjfzVwQB0myBSCh61lS//Du3l3v6vfYATJXunFxIn/C2/Pt7gXgfyf6gIGt2qYBav2CzVVwR0Gga0+4VmHCbEHKQb7eSbj1OJoaqIv2sa7FWebCPJjRaa2AgTIiqZoGsO5HhPpLQJutLWZKwPcL8oJUZ5VEg2jwnexHhFaokScqcyBGK2WRpLPwwhpZDzciyfUkAQS+Wb8KTge4SPLgc2RDFcfwUgPZDnK6uGTVBM3SEsubIHK7x4tXx8AgPbi32ou5EWRWt7tSWZvaaDG/uGi34aq1TrpZ6ma312E9zTyXWnvi6Eu+dlXimih2yXwiKroJJWPgCeJ+BW3E2jaG0GgkuWQe5MgQzJtT7GbSRzcSb+rBCwegx5dBu7CgmoAft6GyQGcQYlgTUDMk4I+zLZrsecBxSz0DZy2Sop5hHLdk3sMwY14sScVUmIImWss3Mrtnt5CPmlqgGZ1UuH6KpthjQGlCUDsPfHJZpk3JKhT9J6L20p/KfYXcWqeP7hofBd53ntVw8W+70fJ/dsbsduIyPIgC6Qwl89jqo7NkJKPFb3HlPgA6FXoNyqP6pIO6uz4pIC633W4Xz1yg1tbf6dFuxgEATZUsdU/s33qghA9MLYG11YemLlMIY0g/Bd/PWd3LgALwJkmPiqyOYI5UjewoUu+vEt9AAy5cDo+WTyY/xucnAdDpI1piRyYKyLku5yuPApEdgQw/CWxzU0NpR/9S5XPd3X8ZG9xsyH3bKScswLjT/tLdIJzmHGgXtIJqowoFwmVBCVYQKSXQZl81js0akEE+mnAJWBqKLDX2Jo8m0MBwHFjxQES+uNfrQzPbYlvOgmEG2FBHvKCjujvW1fGKwDetySu9LZ+lJZxZQuOkY9ZzrGCy20t/T6grAWKpuMOm3NrShmrky/8yGBLRCZ67ewvyyXZlnnr4VafP5CHtq3vEBZ0rxHR0G/RQjvE2zC9CCW0MJ7m9UxWCtwyp6VzU1KZFRgvZLCPSQhKHXz0h3EOdg5tuigGHEe/pZ506g2K4LpM9QNSPWqXec/XQncXhcAzgQ3/errsnXNj0ucUA9rv2rCacZlcYZM7p4i0KP4fVPyzWs+wcgcHNzZxRrp09JRajCNO031bUMQ9eUkqRljC48TmW1E1AJmn9NfT62+hGKhA3ylFgTUB4iwiOPwPvbdECr5eZKWkQa8Ga32R7PJVk5II7s4Oe/oMoqfN0CuaIWTLVs+SY3m2v/ejHaewMAAzhbdkpqRtUBu2OEYrXLfvX12oxeWd/FlaoRhiIS+r7LEl5pJviZuvp8x/by7vlj4133WT7ErykhOdOArq7M80QtXE2DAzLv8O1EMadpQ7lRNksj4NWgLieQiCphog83MDJmp6c9NEOo0l8BCJRZjurho5SmtoPiiEj0cy1Ikgw0tjbWHrXz9qmH/JRKD7DW0HmIKkz0y7sd6BdPkZ1KD7teZ6taE5Pj1EpbqEp3r0Vj1nagJAPDDXsIgiRVfoeJxp0W0gASzbHq6reiPfB2MRxJAsA4+m1pDc14tpSoAz4PWKEr9/aFi09wng5j7jf6236djb+3s8OwGmNdXuIsDQQ1qH9VrpUkEMv5dqycQ4u7ym7bEcKjXumKc1MW6n2sTxJZlcR7aOAqYMhpj3jGJ6m9jgz/VdSeHfQx+0no2DPKUe2QqXk9TEIOFH+QLBdLQKj/WDp83/+VU9RAWB3SSpozF2/UP/RhpQ/q+LVHWlBGTQJaPCYnltsNIqF6CmebuqihfT45VnxTbS1rRAiq33SrtAXoKXxYOpGkt4nJPu4z+bRKDuXlCCZ5k+pgK8a0X2O+wjInEU/igDHVRHP1Bbf1DY58vm6WQaM6mpuYjReGOG1C3i2VyRIKoH2DNKDwodaaybmQMI+mWR/0g5Kzliq2rR1rRLJ8GEZ0u7RdJu0TXnfKu5O2jgOhZCVM98EYNs7OQGoH51H5gs7OUShN7wg3awFyQNOYSxAoKPHCmZDs+xCCc/uH8bG1FLQSI1gtM0nlx1IxPqOzuhINC1/XhCX9Yllq0VpO+De2BOAMiYqPqdKKlOa0AZ4GsqSURzqKHCOsIPNpba1RBjqVOEi8A4lghisWka3sF+2roVKFr+2xNu46z2Bj+aZZWzFEdzaR1O1SGPpNICsQcazmtxWlfuchdYMVyN5beVR1wYqtX+LhVyXFMiAZPg0KFch0fNmD+Ohr79wmU+/XMXfIR3La1yxnoo6SsYSk2WiXaCIBOUP2I3DVkZK8gALe5vLcM8v6Gjpn0SDGMWwlP7/GuQNcqcEQv5WjVqExmCAcY29ZHTB5VWdVAsYxBAAVLZsANag1ArDzD5CSlwkG6zEfjQbn4MRitvDS29mxESIQzItXMaa4cd2Ee0bYgEiHnwvmmydKmgQV1FLJx5GNkRZ6Dxc4ZaRLh/1vQNfwkJjCAlTuvBugC8D0QWFTih+HT83RuGJi6P2NZuwMsi13XZIoJerBRXs1oAQ+QtXP9h+Qp7EoI75D1GdmWg9XYbqmcZJ4oBTFtcfAZidzbo3sNv6kFN6B1l8jmSAax8HGEpcf1LOxxbaWZqjH9DKxQ2TBtkR0WSAGoyxzGap8b9PPPIulvwY4Mpv6yfZja/9R+5dcrBua8VyAxbFR6ZB0G5tzcEYtwWZRQOWRTf22gxc5HuUj3jrE/XhhBHrorB00ATLhILEStXvlIf3/p/Fo6nlnSZERcSJ9UV/hiOyhrWQ2D9ElbKXRwbi1V+PvHTLbAcJSKsNog4JPpSR/8cmO1kbW6Yojq/WOt0aK1C96BR+kXZ+A2uOsKLxF82gVAwiAMm5oZ6KiSmEqZ2zOjeqbBobcIqNlwTSmU9Zfu4+oqOEFwA0wPpBIf37wXAeKeU6/Ukt+Q3yIO+hAb0Zh/f1G90bzBw6MjsZFcZNvzwq0s7VcRaEIaDJKiyWt0H10V/EbHCZq3keDQqCLOw2IAOh/Y3RuLY1UcTaUV0DyT4lr15l6L88elgYgzn6boC7tILdXwnTmLDR/PeNfrzbN8yuqwyr8ebuzJrheO4izblT1c8ea2U06dchiQJYNJsi9aeKG4XUl6FJ35cIpSw1gjUzvVxnc2pUBd2JZPvZNq5j8HdK0yMLf/2D8orq0V9RXAskxC+uutjvNqbcKbp/WGNLEX+Ywgpcu+l+V10mLeEVSBQWjtWJqrOERCza34SHMjReSl6r3NBJtNouooYgcR8icg28JeldcSxojl06q7/iWMeIv903BMA1JSdN48JxEP7W6iqa/KbAstoBsyV930nGATnrvuH9EtiO+Z9LMXBhYCj/wzTOQIVrHKtCjGQm9bpBui4hzBC3BIPNGyyXP35G4vPoQFX5kP4aKkSSqfokFb86Ce0725GIOS74C6DGqNspbJm3N/dovqNkuE2y1r2VFJPjibdEatKxs08tfIf9HTLLTpmaHQJ5rbmgbhsL3Dw8a3FLYtFw9g2V8PBUoQZiJGFOVxmYduUtmXSHmJR2iwaWxCKnpRet4acn5uMC9cJbWl/ahbqScfvNUgdiXgA07ZWiu+I25bcJCqWFKls1886X2x8NPzKCu33GDhe7oMt4e+LTNqpz3KamBCnVjH5Ai2NP+0q+3Js/8/0gGBWl3n8JxHuGSu8+usAyFEBBd0eruijzoM/oCg5x9lbk8+uU7n7Gw3lTaFH8fO0hoxRz578pXncTGe8SS7MOPkiDd2/sDfP2OrM6DSNimkDcjQwhQW1liWh5Msw3UMKnZ9caO2Ek4Rdc/psHxcLs60809rtA2RUOXJlnd9uf8uYJ4R6OmKVC84Hz6/IKJ7F6y+vwzbdn8U20cR8NLbbeKvuFE9f9QMui5gNVkdI7nQ968UTA6yQu5P2XFXPVyajgVzg/5j0U6dypBEVtc4pJO4Gr9EHEbTndr0S8Jy5rQMNTZzaLLTfIpF5mlhs9auUqvfFZKNv319P9aG45B2k+w76Q10Bq091d5etWbutu9FOM5DtBgCABRtyNLaMqw49fIJ3FYrwQN1C2HLdid/IX5+oLeg+OcvNonnGuXwQMXIJNBK4nJUixzKJ3rA61U6FoZnLTpDeuytW3EpDYio7yl6q+iPKP2TMSJKheWUQZiV1kyTksJiSM3fLvZAEEEcXk0iynYx1JdEAP9Kds+XYXMEhUeDK5lA+VBgJDBldDHEgCw2Kr1uSbJPkwnL8gSxKSYKXxNJUg/al8EqYVIgTt5sVLD1gpVl4vFvM8iYXnL31HPCJLYYDTcRbkReWHfJ/2YZyZv9DcV8fTT4MlzNqabKwDpdrJw1rsoDmGlUa8XDM1bKZab2OPBEk301aYI2HtMDZZ8JaXlm7cSuM261YmGXy3urqSOVq/NCrdUDU2nvIvZ5G7hBv6vCiRaOSfj53sY2syWlQAy1iy1t7d5/Os2bFsikrvH8B6U80Y4vI2DycGIuwnnwdl+1b0tVgf93hbhjB6xYJtfvaBA8pJZoeC/97afZ6Cg7hPQk7Af8T2iRaLI4Qy8nPQohMC3RrVmor30kMvaALNGHJIPGyI++lhsiXKsnCXiTz5NtLpt7/b7G35BriWTVaGPnOyDvp1wxtxBRz2DAULUjvqWd1yGdFJH5Dd3nn9FAOpy6D75VuTfG/9NR1gxf0zoxeO0g1tM1wp8U0EFueXUnYiB/ufZnnKh61MnTG2WoJrKnAO5I8FPssYRhu30FHTaML+x9vCXcgVUKlLLlvwt0rTM7JhW4FaODKVI18YeHb2yLMDXBXVcMYZqGWyOJZXl3jigg+eEPdcqBpYSynzG/2ZxoemJqqY02Yxx7FMTmzEIQGK/Znwsiv/xjO3Yte8dI9soVV6Sbo3ip4WZDKmBoTKSXz2gcwjGgHPaYvzmvCzr3y6rVo6Twy+DULA10Q9cMG8PXVJP6Ls46ISBXZ4/u2e65hua3TGj7KmATcQ9Hc2c51IeDKET/uDb87g75ePoJZt3JM/UEOAopmQ+MdscVDDedlmmBwgIXjcA6RxYBZ1hme4EliGTCk4iST+Mf8Qezmot7pjZ4AySudypP65y1/CE0MJy0gve/KKoAUpY9xEGG7O2tNP964jO0qiMG4ZrA13lSD/v35RdFE1mwFpozwoW7ZrR5UqB7GtVxw1/wpvtIKO6BglFELCvB2Mj1/UrGGOQJ/4lMPhGmGm875Rcd5Vnhn/jIN4x4ha0pPz8VWVrNKCocB/xByyvsRvMHN9fLtvm4MXTRxE3tdggimR6R2BkdXC+ZGBOzzQGugdbZhDQcQb1QTp61l6fWkr7pUohqzYc8nFgyi2o6Jj8tqkh1JJJfp0QKLm0qEToXY2QB+IgaY3WxjVzWMazTZAqb0PwRc8DWrYRiLUqMQE8oW5Brh3QHfpAHnbqIRkvNCvaaxZ079ocWL4UnohYcROvVSyEoWxsrtmrNDdZ/t+9Wo7fgCGRMwl/Yw6lBOOPkpf19iMh3mvWzBX6hZotRW9/0v/M+J9SNZUdMieEBT+8NgPPsKkGncTl660Q3reqWNfExOgUAXNQIleRXMHjIkFjXJCm7Ky9ivTPRMMCDEDGadZJMv1VqJTYl3MAkangNwZII8vsYsOfqA37SaYRNpwYaWZ1Z/uvnvxHu0aik4CPMf1bpVAmJeaVeCk8MtjG92nF1OS2nGnZ9Ba0OgiPNthoYLIpIkpLlPz5XYwIA4pck3G/5GxD4iErf+HhnquSz1kdEB4klLnNKFD4zCT1xPAuu/MTWnoLqL62UpAt/gvfGSSdCccdUjtdxeAUJP3ykNm9IfYyWeeLESBRZZvr7XKPNjCValnU78CB1YVX4uIzJjJKQn1nwW194AMRHE1vd7VmAow7oTA0tTU//CAlbzww7YlEJJ8G4GgVF7S+PfXRXP7S0ERfC5Vtyq2eiFmswpOHStvxNWla6YWjypLhvPogv5jqqTag2wnQ1PNMJgR5QxTIVg/liXhCP5lT4dxxgYDeJBlLgztWR1akwJPPa3I0JYNURD6MsTUW8YQYXmnasa8Eiyig7vhIKkSwl760oKyeocZvrKmM4oHYnOXYvK8pARviCXGB4P5u9bgALIGO1KYbLR505/tc6xHr7X9T0ysTTSLEjHWCONmKgL/fvKJFNSsF0LFsgRDGI4E0U7QXQakphg8PQRSRiVMYrWbacznFIiTu+6aRqR8dyCbx/frlwO1IvbCWf5wGIccsqDaxfCWNLgoPBIbyXcJElpY0hS2u+JmvcE5VCHhqyBDZKCPOHKuKhZzhcBUUYTULNAjwEpMDFkMsLRhyWdtLTan2FVPTyMWgFWFCQzGJRuwUEKVj42UT3HCGbnCNZ45snr3UySYxj8Cu6ooUIvvnQRtNSdfWwT1PKf1YBhvdU+0EYOSlLaMqOKepzz45DbdEPXd3LB57mst5578SIS1OSypMEZCmVsplzDAGT5WE6QLDMZBAGHry+78OzCU+4Sl5q2KvQ8l5/C9zYk9mDrtWCm2mpVlO5w/LCl481INLwhpJhNYbiy+P1g4i29/b3uuSyO3GG+PrpyTsqPeke4YfoLULZn3FOozaol9M2OOoVomMj30OCMjebBVWGl/VNlmWjacZZWpTKSa1w59rff+g+btGDmuCfWpaKtl1M90HswXZzbPZ/9yWIVynFnQsNDNHRtbfF4KweOEXJNe7erPPzTqZj/GVFfMxekw1N/jVsWBZv3sHUhqTNf79ShpUukAwAvM7f8T2p82MsXLTDQOsyDdhXbn9xhNRmf3MIsGBbYy6fM853+fHfUDGoCl0Di/RH5MszdEDJNF4gAQddiguvqwpvTQRoi4qHAK+1l+HInuo8SSxVZa77pBgnwaGucAjsf4FEW5rpYOl9m2yvtSCbZeOz91MghlBvf+7LIiOVwMBrFmSsILKiPp4uMQ6FnajCWePmKs4iDmn0oFUPpMAZIZrb/4nKDRX0P9IEuSdrAtzgrHwIFUc4c6G+HytBdoflw7NLcgpTT+Fd0iZAt2M+s2qFflaX9DbkRYr//6lg0CwDmG6TzvGRriJ7sz3gHpzr1/iyMMeeIBuifwosADPhYoAsr9yyaER6lccsHiNA/95iHnMclk5QI7p6WNMWeRV6fYNQPgPeqpuc7bLoZHg5rNu8rvd5e3itP4BcMvnjUbOz41QF/QwUSoJlh4NIu1xhj0LEzmBvv7kNU/BbgzIcAx0O7WlARADJ449odInl4kiCMtNU/2c0OK9t38LSBHcTO2JpPjIOxAer3KHxvA2WOr1He0vaEWns3CSPEOQPl2k5aknDEH0wVatkKcLU4QKXtmzeidKFWAJAOvwMKyB7yGABmkQNSadJC77haVEZMgGJLpiH1GvEoOtUgXBQXSzV+BDQCmTpGMxXArQGUWx/zpW2ELg0MTA/dSfUbzNVmetCQH4fJgDtRicTpe4GnSDzlZuGnbTpsoAnLVRKGpbYWJ01bDFxsSGG34rTZJekCWxua+TRDXmGzATc1Sgm08gO5+Tc7CU8nh2dJ6m8KITRpQCz5TyNWDFzagj6VDpS4roM6d+pIp9/uNR4cHBYgNP4050DP12K1PX6BGvZsQcQsc+9IMsgwGRDn/ZVGf1IPJbQez2Uo1qG1VivRFQefTf55kM3Zdm0thaXxxdzTQ+RQrrs4TTxj5eZ1WhQBmogtaYmcDKEBg2e4Nb/becRvdCyeBZVoozXyfdJzV9y00/S7Y/Of+wh7uxBMwwtAxuUaChmiSjJivepWh52vE2dGphks5k6NwzTBLHKgV1mwGgC690i89IQYpXWVKOdCoLHjPN/1tQl6Yzos4Dtqp0qIeZrBPF3KACY5blTB045JEqqEInwm7MffZ6l/NVasutjWTJ3NQi8plrJcLhl10frLCAiqGtvrq5WmbKpzjNpK9FKAApaCSxQLz5b04FtZ1zj3AQRErT1KQHH8M5Ac1Q74ptz1Gj2Jx9lQYmd9RhhjKA8rUNVPTLb59CMS32/Ar/sT03X0PwkcXdzZjPj6kjrNC33PtrMlK53pHXx6MsmCK70XI3dE+FyJLw5Ki7PiTb6ORlfk4sTk/VT5LDO5IRdUL4lUSu7lXFKFWAcBxgEonpxBm/uJdoBNeLWO7qGhH0rwJ1HCjXp5yytTUg6DVk/twRZP0UpVtLKyK6cDo+naS4RaTZJNIyMMzKcNve/FHr61odgF1TUitU3AKm/w5Vc83q7JgjAGVomuIYhPKetIeh9rIpZryhR3Q2lCoL+qQMFrTQPYQ0yCAc3TYRk9RUSW3WAEdhoyHyvTdvTbaVP2lKeSZ66G0tbM9jRZN6IMw+12UrVYz9I1a9hqwTxBiIUaUklH6tRZqGytpzeHgQSjePZJ+mTnvffg6quQ1goy9BaC8YVPlYDnDi9G4IeFld6Km8RoeKXby6vmwmx5FjeYq4FMsTX27Ni3S5rsp/sXIUqy7Sr9myg0LWPWkqLwIcVJxjKNCIzlz8TI9Cv+u06AHDCGFs6h7k+ZEXizOKjmVH/VmX9+48dZdJCg/wcWoVIRJXYmIhV28r+prRgIepscoZTrD3AB3S3ge1Gydfu6s/Ke4/IrHwsz3s42gwEYpmSJiIf5nwjphu7aLTUl9bLhE6qyOiHKb0B58dhCZCO3vGQ4oeoqMzEuyyf4RLPFN061omFIUx8w+ocCRVQTMHHJVH1Fl330R/4jQoAfMC8JIAP+32bFVDzwMb6Re32rDvEVKnBJm3lcDh3tD/UTU606g9W4Wyrnuu8menZ4yp3qYefvsq74jTeh6Ps1FYbfANos+1SqPMTGQuxb5eoXCjHSRiCFOPQzHvXozukDjThQLSSDK+tY11TKHCD/ZFf7b1+kAk/gaSZmNCC2z5zzm9Pb1KtbAzWOjUQ//ar9CySnqQxZzPOEKtPMVffVo4jQZ1zJpubXIoNk7rylKMBHb977B7PTNf707fzGpNdzMsd7tDmOoYG+kt8to0k+UDvrD1YF3pva9KoxiwqBAMAwQpXdc5ZFHGz2PZ3Ut3MUh27XqBM/rEa3dKYdmSOAbDmYVd9iQlbY4w7HjPuD+CDX9Ww8KZ5uKhyjcQpTVMX11Qq/d/jpLgQZC9K+Vt1cAsv5diLeWknOf8yWux/7KEOdwTTbj5m7DhcZLTxiP8h14Lhoam0qxxy/MZbY30AGy2KEM9Ld7hQIWyhtdEzCSu4ebGyXNY+OJWxS0Jd4y9WFwXpsWj4MaudI3jpQ9eMor23/edX93XEjIS0g4lcbgy/2587IwNWHD73XLoUzNs3d4HGFAC8FeH6cDgKFra25B99F0VxgJJByzI5P8m2eVov/hq5yt60CigiblqoU2yr3eKz8akS6qxBX+oCqiMq19bGTdyjNY0wVB9lelS6OT37weHZvRN7bAfPjYowYrYEfDrzz4VOB7Wx92Asq0YPGLnCcbusgVGYZqdc3y9Xzc12nCbUjEVhAGbxpuJ/F6Khk4Y5JBHCPFR4uIpeo2modaxU1a0HL8EU7AP8GPjdnVoMywaZtnU6t3qgGuN8mV8IkpYMTN46dNUWN/ObrK6MTLo3lG3yXoNrdtvh0V9WiHFaTBHthQWGmLcXJfR5MvWDlbKgASKkS1lkAYs3zjDlAEO7j1LWELrZAq9XxrSGP3i+uT2gRHggsa/7scpWUdyGacyKUxgjiOtqfsuF+7Q/AklijVERzqCmWA37UzBoa2Kj7cPV6nN0/MmwJ1/5CZxEnFk9CSB+KrAYOjOj7qEeUhJfjmsrQCtps1AJ89qZeHXHcZv/ozUGqN42+S93T4kcBorRjhPvBNL47MNUMmHd1cWkIuYKvhBCgqlrq95pGvW5VDsscUYtbDy6cNk++bDcSuj5uoNDp37wBv+WTVW1mNrh66g5Gcf8yDnShhdpeEmOSpCsGTmGN0NLILOkXasabvtvP0kboWL9c/0sggINYtheDWnZT0kgfR2mO/aiuKVNGkGfbxdyZbm+i27Ta1DSolbKjMiH6LWDCkq7S4tpLwGVr1cS6z63hfse42rAFh0SSXFY26e4eFh02E37g+ZDd6AZMTFClJIQPBrGnz3EgRe+zQKB3pDn3zX5eeQfFZTIX6L0lrHTgc0Lu8wXv92FoBCkNA50VbInNX15BwVrB4ruXlgrbgprYzTAj45q8m46CLEy+xsh7pf5At6dPb80p3IR+UGquvMh8xLN7oLdykoB+xWP3/zv0PZ5fjOD/xY3anbimrJbTYv5rxQtDQ/RhkE364N7wk3s5beTzcRV0/HoCKWAJ+pE4eZN60TqwplfYijlJnDSmYNP3I1n8V20SAyoUwKk9kYa7sPFsYJK+4XxDJDBG79PiCO8DSLG6g8fgduEYkcAcXJ+4ADmm8/IC54uQe3M8L0kWak4NLn/baxetL3Ee+VvjYKfWMinqUqCoI6IgTyXBaITtk1Asu6wn6bxWa/XBed1pqFdVlkkPGn5aeHwtef9Ox8pyY6jxTBVSCVGVqgTUqucrBVwQBEBEXf7Z6IuXAP+VR3N0xnbjYaCELKWlo5JCsb3AScEA/rlpmWfxCNPI05gi7VogieUgPeIYhrnvYtLlTpjgsEEdyRprh6erMPS6cOY2bkKG5zvWRslK6iBor3eNVN8bx3AK109WhWGy/2SlBsYy5bc1VPa4O8ReAXa5gTFmZjSMDsqnbfYwSkGSJZv4MtIF4QECl6s/3NI2ewX9uyVUwpLzpt3PVuly7qqVG+loe5cAOWtKrDSZcuuyQLWb3ctpXdYnkWNbJ3I/Gvyc/iYq1JRyayQJ7piZfuWkBsWH9TIJ5MOoBqPb27t3/gJvpi2T+UEHiZAbgpR6QlG1pnjFzOPZxv02A4Fs+5WsO7aPN6x6l9pkCoVnFX0U+KFQk+UINwHxOc8DL+18am6vznIRyPi30Gr9yIJrAgY26iOZfLJv8aPQVA+AdSU4LIsmwhGUpbHuS2PXv7Rh2JIGrxyC65N/YEimCcBxLU0rAP6fCsEVg4AIz+PasmsC9l06XIiu694t48ubA19GsfwThD2cFLUnhmfzGiC+unH9egyeHWdcUUIcPaBjdX41bwCHAdljdEz7jwkgO/DPznYrrpxnqcbPmAAxpvg6aFSEvOXrS5efrsQN8JsaudDLaax5bQ+krmhickypR/X9xZkoJ5N/w9qNADYQvHviR1BrUkgYaSdMXZgEwzxyqP5eltIR9axcHdTSMY00dGB7jB62Uww69BMnkotZGb7Ts4+9XaLgEfCc8Pgpzd//802pLJT5vHi/Y8TZ3+VAz254xkgxcGYAtqtGFzeUoJceiLk5C4ANrra8TRfG42rnmf9pcNPq3r5pKJ/C+oFmB2O5oBmloWtEmvK1gAfqDP4VxJrRHLHCq68zR/p3SWCVU+lh8casXavamdQrvpXssWJGgiaAn3LDB0ZgRZP72iK/aqBZrqohBrgcpNFw29gd3Z3GOdpgW90qAI7R6HMrSasG+n8DGKwdeqYQw/xEYMoUmydvmg0sQMjGr0Hgg1Rw8aqIHA60GrFoZpNjNZKv2SUSGCitD5T8Q8KRRx8i56yT3036Fo+9KCeRXbn3NN9zeRfFm9qKntDMWpu7Xox/4D6+f/IhGvqwmIE5s+M/VzyGLJsL/ifLs5ntE4eb58yJo6hjEcqask1gSOpOJIDALsURfscZksyk1h5Z+LvLoqJ6MkcuyZ4BGq+S+LHkeivERvgEgC7DI5VGu7ptLrkU0KkZ7M6jBUOsxf/xC5M0NJZ3CsdVX1Q0eTOj0lGG11BUEof9nobaHRwsaX4BY3NgKOWmjPXcOkRN2Fgm1XLTimWSFlBsMV+J/lRyIPjELElqvTLmn7WUMrUpkOR5YD8tWbhyQL7yhLxaho7xMwJew3kskeMFM/KQprimzubM1NQMOCI9jOM3iqNzbSjG+VvGMQIqFIcMGSTAN8AgC2Aifp6SDASIBbtvbkVBKv4a5+U3OByGfY0B2a2rI1YoxTk47qYQoyQR/4GRKeb5KSAp2C5nWKiKzhyhNQMFn8G0Wm6vY9Ys4hrukXsWAiDB7oMaAKWUzE2I/goeXUlZlAU3NxMCnzqeCDWXIxy8J18PT5c4Z2H5mXrBG7YIzU0F2yetCDcPSc6+/7fzg61La0s5B2S2AyAekiZSsqaUPWyr5MgSSZZat/nE2lMo4LnZ1JIIauY8j6f9v9I3aGLGar6uJVgaAGCmSeVEJigNGHpeTDDORa+rVwzYnC+S9yZwGkZr2lmC58dtbZS/mddq7DrNrGtjqlqJnNdkVGm5TdHc8kXCf79du64Yk4nN4/0h2oKYGfhKP6K0yIyg6GbdL0xvOAbMUZ6MNfCYoNJ040UQNZHisOm/obAEc165PjaNBIjFnqfxIoE/Ip4lLbY3cfc8FfgvubdKYxY+6AHhRdcsgcGFcBo5e66ytLUw0PAfUDoLlJNdyTghmVM4xksEkUPKNLttonVBIzfYNLNaijt7/TW4VFrMnG7qkZgaidEA5oYsdaSe9sy6ZXcfoyzyl6x1s139R40U5Pawcv/X/rEF7be3XmE4v0JLM7nyRjEHsv4o4GA2vmkOyBg7WugjgkM+md2xeMHuhBIOtorJrnmgU3i4IlqrQbY4XSrkzfpuGTiRLHiHhb7NW1PswZExzlYK5WQvQybz/K9nvMR2r7lVXI3mcz8U2CsvDWGJgW6LlTL6KYfnCfx7boqAlJVc2l4p76UHNgey3iXiHnjT4+PnKFs1hSD+xFlgUUJlSXqeIpB77jjdTDQWAqzkk45S9mhsFsDSQV9tD05PCKtt+W/PuwAfJWWF44LUcsVnMEHDL34NWD23DVAsg/5KUe4t8PCwJCHM1I1EY5jQKTjWtM6mbkDgLXHA5dFwU5QHaZ0HEis744uH7csJ3PZLkq5IAuCv2Hv0c5CqXAxLNm8J4muSF7wnk/PWnl7YjSG8zhxUVWqJY8BdbozHH8AnuZPNmYjnrMJp6cH9GwW7r5Z5pa67SabpBt5OLka3COmq6fdKqfFqqG77uwnTJ+2XneltYWwYm4EAMJ1797jWrAJusl5qtWcorLJpIfCV2vwGElyJuegKQYbThnt3lql33xz4+6FfhmZubk3zr+yTkbpNENWlkAvFXscUz5OfEsjTmcI1mHdeP82GtBzpwBu7gclEObE4E/nGhDQ6X0/yt/TBT0DvNkWIkgafEQdxCApgsndFNiHfB1l2epDss13wh/I+ow6tws1NJYqlHtQTzexJx7cP9S7vS26n3i+J5skfbXg/VOS1dnZ50lJkg9NdKIIPdRNzbZHxtbCCeNP6G0HHEnDRfOf5tm4eByhUOBy8yXe6kVCDtXJAIKKno9W5qCpIiMbC3RSKgpJ9A/bWTiei6NPwW0U3FuwLqOGHwRPkWWLppRTyiAKD3oglW73ako3gmILkdqZB6k2JesED+sRg6uSS8o8Yo40lOSVx0d3P/ZTPZYvgj86mkrSrACAJAeRt3LGE5xPwv6MNlxt8FPVA2oSUgZJS6NJWcStWwen9oZhntwS6bLuwvHa15uVrV9HFmavjny1+5H7TppmmxOBBRS1CLT82yw6e1/xvd4pPfU0kiJizAsscpZOOQEOWol1yuLYDmwQRs/OpLfklPgxfFmG57y82jiEo96ZgXonAWhdihPgpukBm4Wr94+Is0ydvUvEF5EGOs4zGo5X1QWl22xhAaVHGnHFt0Ard5Co6EWV91X8C9Msr9JeFQg7ovm71/0y49YbXnlkIXM5Ced7yORthz9neuyyeRiEpoz6HqF2V2JYQQkyJ2tp5JDIcyL4Kp9MFudowLSlLCKrI64asfeL8sF99le0YyIfIU4gmlBBdn1IIOfau/kKWlOGNPE/a1fBvS4fQPVEa/OLaGy/0/pdF9jpAeTePBzfRO9yTC1PWMfNmWEuPx627gTptusXLTQfa1ya7yohh6/HUuWCuzj2h/sl2QrUhb7Szy5oWOxc6L+ZjfaebmWDleEorm0nvY/Ai2fO5CC2RTehzWpgJ4VY09CaLZ8tXEAw+OuSl6KPzQN2AmMM8C2phgVpOdhUm81014MWHldUBMemUYZyluWKOzi2povNj9TgYypT5vqLIxZQrmxXa947GnO9x3S1AZ2A2HCPei3trVLEdjHO4Q4RkJa9WI65+d4T75VmE+/w25tUd4nouEzi9ZWq5DImo0BwaYABT9nQdF3n91HJ1KfTXpfoqb3dt8mpMLScbm+1bF/Se5j6TiTsc3YMzseyj0W5OUtgdtZIn4RI2n3GI5RoYcYSS4LABjvBC1ZSYzFlJRWPGe76PdzE9IygSGnzBKhJ2KcAqOjHlKgXUDAYgr00tgS7KIhzT3CYMCgdwSCOJIXUY/ZjaP6dljYFZYbMTqqZGZ8XzJoCBFfPdIGZmLBX0TiueqRY/5QClVS9mAi/VrtilFAnYQmpTT6d2/YAQG07/wyN40cfAnjTj58vcoPw+7Is4n1OmmDS0JlRf0qOsHntgI6nF7vutR9/nVQFw2Vz1Bz+yV33O16hkm8NX4l2KbN5E3P1t18GYnL6kFkrHaCCIrqCgI63WmpEm2EDggbwEe1jo698xDlpr6o1lh8+fs5ybuA2XpTxH4YzdkZETad3n1iWWJ91h/IMs69IO8xCDhCV2D+qijswN64YdVKRQQhk12uUYW+eSZwOB5M+ISOs86Ulfs44aUF7mczcbsC7o0cyJ4t7z5QeLuzvXCqBDfPD6ZgA6fIqgotBEUMMJnzRT6lc0pPpf2NBVCpwS1jpU9JkUZS+PzJ0ZIlXDvcS2P72kloGyvabLoR0X59Q8Dc0eZ4QDIcZuGZ8VqccyuBPCSoJBWNyNzs9y99NA9P/GVq8hLFSKu7XkVztuXdquzh9Chnjiy5OAqXiJO6+6zy0sIQS8e6AdnHaP6sBFwXpY9D2K3GDu79BNvBhk+18gRlzv8rKgjVhnLNbCg5PnFlh9o9gxqepRCDbko+6ad+5pT5Rcf9n5zKBaLT8yWjrmYCibohEPw25mMZbUkwxxYQscGeQoWhD4+6OLm1Fr3XGmAg9J7k60WevOryL4fAHm1FxVHwuWKtQb1ovAGwmhSm0iHf4IPeP/JIbv/ishizzzuCaqhf71x9pnD3RXCoJQuxNg13LF6gg7HKG2pTUw+TyOk2br4ICv2SDpnkmzw5sPKWB0YQMcURq5CFhqt2mqZS+hJVeh1gSCTIFI6/Anlp/PZvLiv8YypxSMOsmJGhCplMy+6TZS7MwcP2uAHGQ9y+FpXD17To3tFqgNC/s2T0riIoczUNg1HJdxbGJI8mGm5as/+9sKGoAJzUdYPDsgNrn3hL8CBrys/DP49XILK/lNgjeSz2QZYl3NDdPccC24OouF9PNFhVQcpQHqI/JyExC/Nn/6Taj9RtXp/GfEpsNbbBrayK9UxfXYqmtB92+FXAniy5lZFQBiT3DKXi00W9w3oYFK6V1AnGlTLY8FA7nI4SAafnq+htXfV3QSc00cvDy/63kh2eKe3Fz4VJmauJF/2uA6ycS5VkiJhIjuYGFKbXYKUZXMGX5/ZJphy5nsaKBN847bqYckKkT2fPexuBA3xH6fQbJEiLu0J3p6byb5A676IbKndTsTihArdfYc1hoW5UL9BFZcoCmFrHE9AYzbFCZzFg4cKFVlUMJXUNfuWvzpmwKIcoKUUKEXrFR7Bhfwu1gOM+aA9+v60Nh51EnF5OvpEZ68fa0QLIRiSW423rzdPDvDyZGvTKj7JHZZmbeJ8a+2VDNXb7u6GcIYPCZDJvBazw39GE6LWQ4jHtADfAwj963xw2TuQXH9lRAVTPvSMA6VGUIC7ED2C2Cwuv36WGUrV4bH1znHN5U1vUQZb+55Gpj6oJIzeLRYDdxhOlkwwQjhHi9qHjNNaziFoFFPChjKTHjwEH2Zo0EVpvK17KLE5Z4RBRvE2GxwQh3Eje3SqxfAQMmyC5Dv4mnzJsn81fEc02aYuUrwiH1Db2Qz/ThqtoKWDjvgY6gSETfGqUirX940u7+vWXKmxUCUu2/AGiDYA9o5FiGQNC1dASpbN8AnN8oZb5NZBEHDjDCh+/tSCueD1/NI9YAHlnZOzMtACdijiDg0ZaZiQMtCVHnD9TsInB1KM05ypfS1t1jqxFxKBP5asBkeLKsadmqqVwYRht54fQ2cOOMtpws+Y43E4GXLrPVVBZaVakRs7gh3oykDKQ2rhh94KLV/MDY779afLlDOvTINvVd4z3l3LCUj9FTjOLJxS6R9NOkN9pT8mBxz3+T8iVkg6efjyhtwI+OxNlKjr/W1osKnbIFRuQeIQs0bgCcbuYDzclBeLCKi2/92HCWzJEwu0xT//V3HNtayjkXO/pZLNKHBxHTfc7peThfB2cYOOwtmAC9SUz4QNsiHdxyU0G2e8dwDjDRc+XCb4IDXfV4WP5Es6ZDbil1e0z3GEvIm4MovQ8fJvwd/WnLs7R9nMhGku4uY/kU7h24Ru03hw7lRTa9mUD2aO1Jk/oBPEGoFj5yZDZxtsIGSK4zHCJ2etOAt13NMUfumYjGTJ5+0bNW5LFrf7lvxArr9o9LWxiHp1PkwZ3N/Tm+h/9lnuUqc2/3+vPhKI0xnrRCphvqc91Ubq0y/sPhCZItITsZLmrP0tNxKBk6feWoOufAS+00UsT/fCB98NTjP8AMlk4yxChIUjHMp7qROGoFWsFSzpSeGjzrGNynR5LWmqjA9zvtxZ/zvAUvPcDRtBbo9MUXh9hqgQoLDSfea4KcdNhNzB6KC/dbD3oJvxbfjjLYfT5VLzdPVCzD1LwIaNvs2cKpB/92uF28uyFFV8V2Zo5BZ5ow2HMQvkl08s5axBaMcG91C8j5EpM64oZzbiAH7GEv4lvkLRCOJUog+/X3oRCdCE5nH41zKMkqYqlfaxx0i/5AQf/YWZt2ICwzOUOHlG+nHC05eOpn2fQExEn1jYVzTbZ+GfX6L3Lwja7PuG7gafTblFSQJBor4BlQsUveRVHQNuozqMNLUkFDZCXbdsiOXXr/scSiIhT0ZtEYX0YqH0WwiZoO3QEce2l5PkIxt6kVTebLWrDZqKbHKJ/dt3fPGjdqdd54MwPMTN732EozYCc2AAz6lwDCDUGg/ARKkqZTWgvur3xBHoZck+vVzpI1M8YvMVhLNzuiPaRhINlV9MVpz6SBqsH3jTMT7I7J7fwA5omtbJ5UZLFov2WkW+2kBWeKQGTFH0lBZbheBsjLGKT7Tic+hOjYZQ1/MhnAk2UqF8Qd4/s6pMdOu5WcX1dEIfwJxJ4P/gUC88UVjbpKnFbSFHKGz8Wcli/wKVscVh+y0Z+Yr9gSs2DOJBY/ErQxk/S4Mz17wu8ddfq4xdbzkH0gh6z963vrcBotypXHkZyOqSiH4ivm9NmqjjkC0eKtVt3dY4ISPSdHMZUVq2HNghAvXXemX5qpkXFJL6eEbJRCuvAEVAq+/0onMVQ9U7OubIegCHTgcTcqgKvqcDURYRQvq1uTKS4C7dKHdHyzejWkqInCBEL50G7yLVAoaIzqWhNwNRK5UMlD3CGW8uslVUIpAPvRz2hFJkTSkBNzycBT+hQA1uJubzaxr12xq+6nY2EhXDuvlO72vCdKvjoah9qu2V1LyeBkVOyP9A41WbUgwe9JKI0Y1LfOp8CnlqzedpUGDow1hA1IGzkUF4fe2dM+qvAlVmR7unW1LGvDvuktWvmTLMci5sCVBdwcxmmksTMhBvD1iJpEx7RYlsvg+OvTjxyo0GYg7zlgPsbUcG+kvtsSi0EpGx/M3ZWaGvsEohFNFXzwcHsTjFzOLzLcrkzMBAd+50IsuHa28kFZ+VsSV8WPjxfV05MSHCrXOKI9bPjI67Ycv6wyb1vqia3INBbOQasgOmN1LM9eo9vRtWk9wMGKzGh9Z5k1O57aZ5DDq8AKoBHgtY1hfrU9XxnBkwvlaxibLk1o7UkqsbFK86OUtUvk4JX623XRZ5KPKnrvhpsmOfL+sZFFBTmRJDkP40R5GjkyaebD4Xby/lbb0jAmBb5Rs0JdLh+xBlWbJkAem3I7PdXr2LBX3iSeNiiSp0jwwKwDvENZI3fIgHt86JTHxJXhmXPHW57wnqTy9voHL36Gho+lJAOlkFcwBqeKATrSqbTJhHYeZ61RUfnbx0d5oLcs8UuksdHw8D7RyB0Rg+RPwFH+komdsI4GFVufAGhHTLhYEcvE2qeF4/YAC3rrIMQSaVB/X5bnSTWUcFDX5FQWZTmbPI2nfrAoE5lK2IxgpaXvCjXFtZSx822aakOOEv/HyP17mzTfN/3PYn+cfqeqnPcH5RgNWmpSbt6U7Me78Pr/0SkbIu3y9qg0yl2aI/q+q1ZIngkd9sQYw60JOOgb2VjAxLI0ZL5Hqp6Sl32TJdDMuMDPCBhiEDwpkBuIx/+xAviqWnP5wlAspGOHbjI7eFXBMWc/B4aViYf6D5LU/+bSlCmlw/OC1EMaIrji5hhXX4bMBx4qmDk5yQtbT0t38Y79CryULmt8+Ame74hK4zbleJRPAxrq5cE3WEbLj+iOps8xefCo7TxdWk+i1NkuOObtCJMgrT12fNxbrCl6W58EFDKT85o/SaZpVFQ382ViHAzYvQrpXaSGy+0iifdUDsdmga3zmDtlGom8bWzNpTmegMUgG8KVW2MUpcv0y35XMbXGxH3aqXCDHJ5wzNejiXJ7KfMVJOwALvi+NuA2gPZ2lnJkpJLkJ9ut1G93mXaNRwsx7nf8eLnf1l5Rx+rtz76JETbV527ctq3dPru+VY5/etPj4N3R9QPFhIuUQsvqQVhMVc1Mp2rSuDawj0PU2PRYf2kxrS282EeiIAELRdUdYhhkCggzx6JGNT4Fc4w45PHOCY8hjtbcj8w0mw/VLqy0FWWOW9mXhljgOh7IgyiweTNwdS3l3A/ZoICwGFO6hifihzcoLDbR+WNLsrohJZC+1oLvuqMOk4GGTQcqdRvDMRvj1HYVXIDE7azL4lDobntHjrbLBlOTGO8RnRXDBB6MnZqze1rHZaAimYU1cWYjJr3cz5PAwpeBiCzlf0fRvna2AaP0OIDZmS07hmJvH3H6W0VtSUYKZVb8ExW7MevE3Jz15UDzOpaMSgNxprzYjn3jqA9wpx9imiZBJVUWlffh2p2KCSt+YUJg7h09pLNY7KY91yOXo15Pv6NBxufSeh7CDkCxMtDuHn6U7/g8fqERwD/fUSNzoZ83Pvegu25Sq6sNTg7KE+yR/dgejEuSbf6S37allpV+/TIcvr7R2MsVteP0jRceSiyYJ5OURj08EIu9GYErrL/7e1bNdPYxVAAAZPWx1Wj6QbTaYWnN98R2UjS9hUoNWQVrrGaUKTfKxvMPJWtC1Fa4g6PYVshqmqzshPa8OvthJvaovA/TfjAwwrE3fQExsWazqOSBHQU/q8RVlmBoSQ06x5B0+Q6+jO0/lbWcwTKN+UkIdnGNKY1NcTHRJbq4MSeGov98HAYa/fk449ehwpw4Oct54go66eJI8RtCDm1Cie8WbzmvhKeEZdcxdW4iRF9T1Z+MX1Fix8xcTA7xVkzwUK8MyFuQJFRphSB4Gysd1IhYa0y1MGIbDCZB1dWElk+lQCEkQqjW0RjT4g/IYNY1nrM3hDzU/joFrOrupbh9NQFv471ZSsI/39MF2NObPjmz9B6KGo5riVwYSiEOctYVE6HQ8OeUnm7HoncWaBUtPnBecQWYBccs7JW2XExkkOZztthWYKSO9oSs1XLezqp9EtjN6omN+9tKn/6PrHy7k75ZAHIZTUAD/ArjM6jQ16kpnEl85mGwHiedNxPx31JowSMqOTwGKy0qLeXtLm3EsD8PBS7IGFf6LY4fQSjpOs5JFk1MNJALPkoVsyQ9Jw39nPWxW1OyJx32z93gqGhVqO7Ob2wD3ppo7AbjVT3cR0f1QCzx5OkrCb9d4PdViWIFeOA4+hAtHvwDt75jhInQ+nvf/eXonmKZe7fZ0pa6UqdAyiBLlQP4v7r1LrCb/M/MxPKitx/1E6CIZcX//XPoIk6nksF1iFS049KerY6ZbRvBNFznyanUt2A9z4nLqySaZnkl7sZ7tReJFO/kT2AkCfrZkYgrQoaAslahvVT23yjvGMBOEgHC2w4hBKrcYMDnDahkWZqcEo9eVaVrErKlYHcnR83UfkGYVXSdKwW2Wf1WV5bgcD7SxQYe5R6SwAgrbelTnQLd6707MmTlhGjfzlmsbcZtc3exIGLvneAhzsD9JJBP22GcUVr03ipULP5s8S9Tt+xr1OIWHa4d3fVQq+4ORTPpXMXcK6o8CyIw+fIUzGMPmW9skwag7Tp7oFPXqOT1C91VqAbuk6SkUdqK2Va9B+890pcYkszkPe5CshwS6rPe5Z1o2aKLPmZlk+/1OZUXJNtCWUO3LzVUVrpUSYFnE/xp08AIfKjzkrZ/h+Oxsi7pBQ878/PXtOotH5qAO2oiZyQF2Oi8EOIVbavooyucIOlfCDR8cFwd3AnEz35MJqmmyiTC+5QxpQcwFa+IIwi28hAO2M9p62wJuY6F/flWRAWbyZuG+Tnuh9in0pk1cGVyBNUMdVl5NZtXvyJSZpCkoMQdjlJbUBOxAYCCj3rY0BLZ/8kyQ1hxdxOMJtD80lylSa7NlQwh2OpTheSuCks1sDkbLi8CahMVX7QzEb64Ge7VB9ifni3QyLalBiWA33wmS3oLva2imf+6/+6ELysgKlVDXxf3tAc1YXbLWZMgviUC7NuXr1mq/L9jcxiCZHV34+Kecu6TEFfukb880LrL/CskDZwdFnuE4B1ynga4jkMCKptqN/OgShxmRM2VURJMWkWEyRS779KEawRMT366MynwtvQgQxVjE6YkmR7CIYUdFMHFAH6fzdV4pUZp3ZgfSuKaVU+G4WY57P1JOBAZ5S4FTXa/qCAja9j4Rvz+YbD53jG1gVJ6uJaOILAnT1SOziLfv9fFvl0GGTNZtNb5eSIMph+OE72I7r7OFkFrBKhWSm4ToHSjAcAcIxR2VevOcdkveHuklO0Qobnnwc5RimCO1AqJq0RZn57JYBSFFxI2bDyGCwYeXnGKSPSoqanHAJRXEW1GPaprxEgveCsuPR9YwFeDcMkTN7yE+Uz/qABYY4udAt4yHXV8gSaaPth4T6nR6dk43Oz2hFssGYcDCZat0OBLergbFowWirAhU2uU50nIOagS9N2qVQE79upDok0E6Rbx+tNXOXew6yeedtSfXJAEZ/PDfTshASwqC2heng1EO3ijwUubtJTooC/u+Cq+Gvt6peSJvyPjT13lIPeDBJLKznYkaB63NNSeHiC8ydxwRapuJnZUMdU08a/thWd6Xl3ObmWZu1LoA7A18Gsp0pgLJdZIB16+CXo/nWi7ZwaP3MDHin6A7PsvFAaXbwlLReZKjnU6bCDmauGSDYZaNr5CvkqqKKFNQZEQOpMhc47wR+6P8AhxkwqOHUs4BhMgu/1IpXeQdnfkOcmO4WdXnPpWGAB4I3rMXTSPXFEtwGvuLgbtYbJwq4uDnY0TwKn1oIjq6ktgnzw5zyC6gFX7/EX+vdsLE0ILJtCVdCTOX4KQT8aAUqiKgwk5lNWLgbGrHIOuN4n7ZWfZlm8YfA3kpt0HdVTQZPj8IbKuCErAW/bHfA6m+Fj0zxBciBhTorWnedN68daLoXPcFpbBalCblsW4pO1L8dznLdCmHvQFVVCcvQ30hkoi/w3x6qzEEC+lTDOJBKBUZzc68N6FXgGvbwdn1nkg/4XkR6kBmVRdDOqNB7fQ/AEYCDhkF3VbuudP+9QcMVkNDfUwCGSC0oVHfB9zcPYLbRgM4Wfo7x2O5qHGXH+yZbIS9J+Z2j170YhGgHHr/grZxoa2QDlOaCaHqDOZWg8jOFnoPvGJ5ewM/RdtUSiTvSDCR/XjUJQkJ1oLUzqo86b5ONr1gmg0k1efPq2GRnHhKSPxEettzVo/W+5dUrifCQ6umdS/NC7yHbfpxym73Tdr5EHvR+YVPqIDb+JVcLlgZQZH3x22Xy088mAEc3Ihy/bvy6DqGymMrfQZbDI7RgosA253Sf8i72MeissuPyA805BqBUN2Scf0Un2bQ4JsRif1WxCDqW0lTPRRiETMZDFNxoIUhT/DAL4hSOzZsYpHRPhAF8FfS6OS/us5DqH9P8N3R1zTy0rQx7wi9JTe9RU4KHAYgDPRNaSPAKARBQhn1hwhDrO8Y484EVvTWsvL/v0Ab1FRXPgF+ieX1uBzouPD2R91BU36gV89guj2D6mnwItEnJhRBGVBxi90taRF89z9Tsi9U+DYJuBCvl7EDOeNUTbzi3MnbJuPtKM0oh2ctdOxz+WxF2fc/Sn0ccDKHU+y3Djkx2CoaTDlhysl7upym3NGnZeOBS/lQgzd8agLcOzaz6LiKvYFjlxa7/N3wgyEHNjULPnnoe/ptxJIu0rcaDup6lgkqH7H9L/8k9sWjYxPcu+2KmJLSTGbH4qIdOX6gbog+IgpfaaBvJzDHN1z0uVJpvgfCjeZ0HDAvb/YziNUnBHs9vADxlLymCCohEk7SbkMxP0fU0Kx9bwP49Cj2gkbZuu4aAwkHe+X6EUFsnqB32qyUSmTqq2PFNhlUGBE1HIHWlu9iUNrBVhOWCRmSXRu/rFtY1FPXsb+J8wAwsDfDLwkroYYDOleC9WHEFeJLr/MPIJLVKHcjiHxaJwupWVaWRPMTFTeB5WwDNCLLDcjMp98OC034PF7aXCQlXSYjocvUMhyH6d6izgyHLUModQGiPZW34DM9vEzfpMJ8x4/s1wqmADmrl/ESf+jjDgt5vG3FlOBwVbyMqLfOd/RojpDruMXX4ospYIJBKkNYLJ2+jP23uLZcCYDxeuHJ5sqY8+xDlEYF1ZhXav7EHwYFcPixdGTzEayQsqWVrh8X1tyl+6ysjrhGHWTKQ5CQiuHV+4YzaKB+fKNluAH6MKPMrlXoBE32UyE1qOkG4Ng77lROq4Fz5YR9q7jGR8KClUv13ZL6z0OAMc0wpqnsBfK+deS8VXOTfTdSUVkwKURGudz5l++QunBCisTXY8Rl1jIKkJRYbdjm5MU8hJT6aHuplz1FSybwJ7XXAYCNp2IHP9JkGtLJ+nNUSLCCeCkuZxKOwEZVCIsGz4sdjUGGeV5sNsIpdmHdg8ASVEBobqPP/APuqfTtP9dVKVQNuuaiMEb6pB1qK2p+XGKxcDTvI+40mHRdnVDnqX3CzBGSpDBNS/iPKe9mcRyHO+5VBSjWSmyi/vHQfxTb2hjbFgLT1kThqOBxHVjeICpD+Ay+0kMs8iblYxoico0v1uy9s5mukFrHhnlx93LdCxYltzIG4G3ocHrGDNjCR4FK0P+FXvynW849JlM83WVcDXK76Qo526+r5zsr2VnaxbCNcFR/vi4FHjhxP7F5cjBIkhZlWyL/pl6Tx9wOVhRtBRcloydOgHFZ6BBPgN+Q2lQgN+/DnEq/hZGXjnLPOh60A+9ja1hKhCucVgL7VbaDX5V1TpiTTSxlSc1BW+RHMSl7fi0EieB+bWhTrHhfpGSuz2Fs1mD7GBVy5dD/beVukwfNj+bYBhxjQcJcgy63NrNmIyo5mDcpAn1dwFQX8VcT3NkXPnAlcXNEdOzlJqDeETNlUGfXlA3CWdEpEG15UAQXNrnolJMf037oNfwebnj0bClYjT40roHqNdnVnQ8oJGzMV4S+prZIF0BLPWDQg/+ZMRqWh5sA4vmyDJp8JQxCyNTkCiharo1FKh8lqtig499u6ICoTXOPe7a49SQEPhk9dY6lah2E6RiWy3VxF1935NHdykyta0dezSpv6PBYXq7ic2t8l3Pyj+jeJ7PBmx1OAMvW9+bJbqtpLmqz86bQiBivuz16d0dlSuH5EhQFfFE+ar2vBfs43BDfHXzMqYGJ0Q5LNOmbDBAS/XK8hfvAUrugOu3GX211Lep2DWQfPI8Cq2bxaiW+M3spo9iXJK7rdMmFW5iye+Q0zfWAOcFS/XqMzgrBqIXjNqPvVot/+gfXTswGEcV2etwxzv797hCjjx3Jce+MA4tv6adDHBHASOXzfwT4lDw8i97uggx+vsA19weSi6UROZVW7AwS9ovpVF/n5BTEDb+YIcCAVXuorVkmIuTggs8BVN9ipoPRhzCCcGLPQUNYmwLXLpmvghDOIQAfMsCtE+GkYgrnD6E22D1rtVX2Chy4XioyRhT+WRpbVsRxx7Ifl7kH8S1vYE4RaXLILrYyVtCbfw/mqnZ7hvKtDi9d2bI/XJCIncyvvQ5zws+HHlRZQJybp4jATjjCWsRAp8y+y8JWUo3+TtWN0yVW7vJyglksEmghiH/2KWChuN+h5wLrpHpw6QNmbGsAT7WmbvJSKAl256r7OEOdGiPw9j5saBnc0BhZtGKFsfpCyNbxk3u9aJGZrDcCyYed92uUVt8abKSnvP55mWNvx64VaetNBU3wZxUMIyiVfML6uIu1RW3Zk5wSRyGPmr3fLy9GOEqsZY+NoPTZltSzp7wGRcQO4f58N6B10yRBpFpz75uTOqWAlo8mdGEiEgQErt5PUOj1Uapt5GJCat3ZebBFeh8Vd37s2sNKfvyPTrH1wCpaVXy5q6SJPKXm2sCaTGEaXIopjK5IVoKUYrBF/VO0BtqxYKHz9E6fKoTOStiqMVhaaWjBCKOJkwsM/z6GwybFR+znfPkeM5pezJhq6len4Tzv390zj7MWy2p9th+Novj4P1EmwnSrkvQiuDg1yKEGSZ1WRl7f8duPGAppEQGk4O6OA4LhQKUZUhTxKLiowqaMK8GuGylCcq1D7TnlMRKSCt/5mYbIRcAQaLfc/4GbcnwaDJadl/RJp2lIyfInZ313/d1F6jhkMI6f89ic9AuY6tWP6eH38jTqlC0btHlYQ0hFPzmzbNC82gxqVnxn3A7gDfVH0RDv4bIDiN2ux1VCD5bzbpillVE4GwbK1ofR5myZYj5sMaxCwyhFi5JX/OUtUsBe0CciSRVd6k1bJ2vCtQ5IW+sxp9v0Ecl2jS3f/a48+TDdBwlVxSxf9jTgeBccAgzl4RWhVlWp+qm5vAhlOuJWYLAQ/qvFM96xYOQEWLP13nIvG9d9xOrXQGIfLqT0MEVHaRcQxidp+a7Vujlls00/KsYJSapi3cQK5TR2zznmwD6swxCHJCUzgBAHyI07FBP0wcQKqPVtCEgM8CiSQ8/CW5UxVwDFdt7sY15Pk9o7TLP6iI46O4i3w8PtXlgOeBunV777vPNwD4xny9OGAYCdE4SsYNGPnbSbIy+bXP3GcARhvGLHL9MfIzrEiYhvarNVaQPR4wbTGVACqc2Xl4fvgT4pzZCFj3XJ8wvMP4533PJ5E3+LDfseKX63s9kI/hEHHcTuz5eY6yIdmv0TOF9Smq+u/iU4jpPU8SMhxGjZDHYvXPJaSAKwAoDsSkcH3Y3tRkWHtVPMz3eqD5Y/ArTzShRMc9/ggH7I/SvuCNcpg0YHD2J0x8qzbEFMqbrBLJCw7FrmzwZClKWDEjprT34TXCIzgh8aAN09XTgaOP2EmW1AFCAHNkjhLZM8cFyV7Y68gi705bOTSFCTjn8f7I/EQQHXba68OU2CWJ8pILR7swdyEVTTtE0ULHRDHR7doJ4sO9j2FLZRt2D9V6qpOwZljbq0nCNWJvkxms8ISZfW+8MGsV60c8yqqzBVt3ffPZiQ2xeMGfmKlPs0cAqfyjYk4FQOwbIkrK0GJaS14J1E0Y7OcsiAlJAcw0I/gVoB/mfUUm8GDj16ZpOjpJarahv4jWMquK1Ht+SGEMbEWeTCajBrTkrHusadBxp/HFqfSF20BeRXCg/5yoRDSbcziRQneJdl2KJ0aaO9HMlbIibxV+763hslXxFt6b2uSZhPEOU4OCO6bCm9hSf4J6867ZSy6LmYrA6rU808NYULDoOU3u4+bNIfRgrOasuyIT10Hl2NLEfMOLLf+/NOiKfs4KyM6lyiP2CIQIY0IJG+v8OQgcPWxTEXcTCfTWv/oC2aQc5aLcMq/MIbaDuzSj2IdqC/9dKtriXmly/VWOiqV91Ar0m6AJOkmnE2IjAbSD1Py+hkM5jhgZ69ZomjlqcTI7Rwws2r9oFX92+84A7GKZ0FrjhrDp4Iyz8R+q/lzSquk0WD+3fwbQseXkdO0MqLi72jz4haq6JEZm0/j0wa+W0Kd4/Ry7SQCSJqVNEIbf7eQ0B7+mDhtHZ8aqmsDce2hqmE6H2tog+R4RyrmbYUdtucwenQjxc2O2p10Ca0qQGQ32YgURgs9UL7FfqFJHeJwxQJjtL9FO1cb7CblAA8BwWxSZWGCND85HxE4TqL2UGrgi1enn2bEBflvCwfmN5E3/tNkUtlvjErMINOuRdFHyiVxYZL3JbTHlkYt3cratySB50AYJYc292x+0+6SxUyx3qXFH7wuk2G/ArZ0CAw7O7VpzNNjMmF+PF/PUOGbFkw/tSor3JaaIwzNKG4rDSWaaeOF4tfDwwvHZ8dXKbWhQ4fxvkwVkkf67heUqexkJUKDwYrGoXhJn5KIV1wvRSc+DSyZUNDH6miepvwAlciR1zeAQvODPEHR4UrSM7fgcG0X8wrIg4Nipjz2Zo8oUS73GaBeUHO6DsLSnd6Ccxd6dbfbVoiwaT395akeNjBIOlEgi+maWmADi2wL7D77otXKgwQbRCdv5qUh/PlgnCZgyzcoMmHYZyELpoHol72a71LBw7/uSuL1mmmQgbslyuxnm8Q4xvxKCLIaOkx9oeXZ29qPWKkcNtUZunGHWGBR2HjVA4wCZl5vxu1Y6EIiHHJOq8dZfVvDWpkacZKBBun5QCNFyAL5hk4iVmBnA73YMQJjYbuMd7DSQQgVF5VlGbbHYlQTOuQrcYO6FAWfnYgClunjE6Be9HF4OQPU2kGEQ7cIQyAI4Kt7HZA70rc9pjaj+McWEkq2Gr1u/hMxAfqxHN1NdFSFlL5I11yodvcNDX5e2gw2n7T07XOmMgkU+UE5grf4kpPuYLGM/78y2Kky6Enur885JTaKKM/ca7AZyR8MvsQldk+CGoXaGbHYfsT9ESdFD66FSNTi8S1Yn3uG98opr4MiB+yNEkFJAnDIbXyKlWRPXjPDtOauNwWDXtaFUAGWjPJQauB6rtadD6CwF1xhv8RFkIn0pC15Van3wpSZiiH0TfDHUjQFT11U0HWaTGziP8ysdZ9UZ1YGwJF2S77RzR+VB/9kgRl6pQAdedDAm2LnO0bSTKhsX0Xz/Vd2yvhJgEnE7j/YsHyO955Gi8vxfB6jLtQyk4YcLnZNnqAB0eUNC9Q4OPi7N4WMxR6QTHgl81kA217F/nj5l8VTbpmayahe2ZkrJ2QpnFK/z/C0KlP08zesg9mOISf5jrcb6IxJNZeimxnbCsKPVdOwONAHpLQ3DVOuM2RN6IlfQqXcHBve6LMTFU+sPudsbWM+VXYJk95AdVtmdGKqq5awTfn7BFzxCKLhN72X0PtWDXLJaH0K7xJMvDyoMC90Er/mF2uVork6yi8EKT7JizV/s+MPaJnc1pNzvRtszlC3S17Dh42speHBilainOSZh3w3qvpjVad6hmkkhTWvtR8NCR5mb4DTJrreivJx2iQKOQ7FN+GKjz7cmtE7VhYHb/GxEd1RiXQL4Mh5cMw0BHGUzqnB4JmRmr6bSAUh7auzJwcggQOlo3g33eO/TNtXvU+zoUIWdcufTk2bcr855WXBt3gIvQWDRFA44p6rsiC7G0sK2QMEGN//ZdZCGwHtBLpUGWS8jRvN0B0/MoXvaJ2JH1/qCA5tP9hjEdj5FBs5csAbuqpvbhSmqFGl6PTVecejQItBmv1grkybB5M5abDjbxpE8dB0nofkX2Yh+faW8kEB3q8A4NaXnCNG19mn6VjhSOdVNO9s0mimU/x4JmxcAtBqEnLgogHeZ9eibknHDxF4RAnq4MyeQKS5iQ7dXiDMwDTPrJsesNY29oS5/9whbqSplHdFDWy9IRHMJaKYDrIh0Yf9/1z8mq/iEicrj+HVZmjmcIMwys+Jb37Qfl0pfxCIuJqdUIdDneNpfbzO58TYz7iz5806axM3R/qUVghRK0gBXoIY1AtncHVg6eael00sdoz8MqBWc0rRSMyQNcGKAw8cBzD8B6p+1v79HrNjCGuWBSGWxz5JSZV0fLwjMYikOOGASuYLEJrk+eSLKjtTXxvNCJr0byxBY2zWcxm1H3y5+b9izqAAVxPs2mgzAVw3fkVKjhdNnvQ5OWJdk6IGwRzi+DHJvNpUmASJaAOT67Pyycd6KN34aQuBjcAy9mKob1b+SI3Kp8qRwb4dVlAPu7ev4y3HqEl45kIfRyHiR+6e/+m8ln/RaX8aJDk9F9M9C83WCojGu9pnRcGh9qJYulEqrpjdQ1lNcJfLoWTd+YCuDEdbtwophzDIbxaHydi+qF/SBULLh0xtwK0vG1A/LDDn4p2+38gqxW+xILsBqenROuYd1N3W9hFRJn1yfdFQAK9z0ywz2mlIIiI3K3fUtqgXuaNzcSc8/wgMK1HQi1Y25kA6IsNsAjMy3o5pShZDnRpqSiSHk/eoBcGfAxDj+YPPUaXigQaHwm2r9FhXut8PGy4hzkm0Vyf5UQJDjQwHxSGJ9/4WPrXRvnVL9G2SxSRGPbPHvZuQNqAI7pVA/X+klxuwqFktFOLBl7kgj5YbqBz3HX7mPYXGoKv9T4WyG19aMUqa3ecNdhWuIBeOe2QPS3/jZXIqKCpH/TU62EiEEyHOY7TD/JuLZIEJpwPzlxTnyclawD15HL5hstypraaTA5PJTV40jdp+VOFBpfAvti0N/dLbq0qv2vBnyJRjeP8kVLfNoXZoaarLAyKbE+y4/0Fgm0ADYtkF5ps7Lc9Uc65gAofjAKD0EGXuePd7SIz3EyFsYW3hsmo+qNLwab4ozSq1tR2min5HWs12l4wvmy8yxNMMwEpNnxYAu2tK40MChTxv+XI0OJeiv+YzB64zv2KiPSLa/EUQ2QUwyte3X4jW5RxOZ8CagWSG3d2pJKsuNmBg9t/0xykcS8tYMNjaaeIwiY0HBnxJoUfOnvfKo9wc/HNlhg87Z1Q0muRABYMQk1LJB0ekNZ92uGig8sndHuT5KFXr5IXxwmyhvFW+WE6HSxrrIDnUoSakMiY7Y1TknLvcENvspXP4uybXZK67/DodeiZWqdxrFt3nz+w8w89hZls1drBhlcffYH1/JtgqdKI6XQORWmBj23gvrFb39fiziR6p+Zj2zUTm31+/HxXHOSS7Fv+5zAgDPJw7izDLuhyJnKfu2zVU23hWt5Vt/+Ijh7ul4XvIxxBLr+aul/9M6Ym6hiVKsX0FHLW9AMiiTlvZbYM5t03WuEZx7n3kFAH/kpIjf7DTZFyepjswBQA2vR5IqWOGsrCqyyrGpUUHRO2wsELgA0bZEq5SGjxC9fFPggnpA/5VgIv26JHPN/SHx7moT7ddpwt1LINhM4L8HUx5OTETFn5Auj44g+rjkgIEvFhAA27Z87byhIPifew+NX/Fl3F1I1w1itHDhSi3CsSjgUUC2lQoJsOj/4bbfOKp3CJB+8xusf8zZ62iAm/ZLbtw6SmzwoAT1/KkxAVJMukd3lz/BiC11xqs2zQ7xWQz8ihj+GQxMnbnnBaGI2FGE/utmgtjDLVrR4tKXfY/977HOJAmgzkUUzV7lQY/B/t8B8Dw9hAi58iUYbMDQv3W6twACIPWOTvSpfOoujUMJji8E0JWbadK3SwFkhAG8bFr3cy6TkvS2GgXfSvj7o3hbsL/ygJvlUs5tbeAh/oeOBaiUwibKJfbfDYjZf6r1C1OJ1g6wXta5PUAFvfLIysr7O2wzIsGXXKYsr2mN15uAFWnF5KOPA02qMI7uJdZ47WK7ExkPAjIWRyG0FsRizQcaj6Svf7WXh4X/2XrRoGulaT4/YMzizAfSFUtf2oqvZEPQW76/+F1tewShVx7Xwjre8YIcz46UtlmSyfp/cTopIivNM34jauAJtflzlxS6OdMIh/DGsydk0Vzj7S2ui51PGkWpOQYfcx5UlX/NbL7jBe+SKSkOQTn7/oo5/qX7NTuePZ081hZBwXpqmK8O9cbyC8DO4idy7QtURKEfIfff6z7yNZRxJY3pcPJzoesMEQvSVtMQADG5PQvLiaPhnj6IwoCQQw1e9DmCVUz7+hBBOMCQoFeI3F0tWprZb+UkfFW3vQQJ4oFzVlLZJYwv4xagrM3cHvcV6afT/CcRGByo0WP6i9ZIS2dXTBRoSyUmLyWdSAXKp0jJJRybEEnFOFpageZX/KYFsGYG28rqhx4KRcd4Tg8SNcEPnsQbQBFBgbNr6tuCKIb0Zdq8lBjDanaAWBA17rHwbJ48tYhMU3tBiLOtGriaH9vU2VWB1VwOEX3FhSM837ntjbwzXEwtPellw1QcHpNCK2Vsl07gl2roWAcQtdJE1juZnrZOZsxf0kMT4qHnLjrWpLqQwoQc+FbFrqPh57jPjEDhY4trI79So6esW4LnIacHqUt6jFFGoHqSRQKnNsS1fVgmgzD4Ri3jKxLEeoUJUsE6xS1qiaMS01j+f5yrD5jYvis/4JMuXWq7HObz9Rzsfhco9Lc/Kd4UM/DMPU4S5GaAOr8PtxUzgd6MHKqU6TVHUvqXVDIedq8ASmirnn0UlPcB2jD/7Rj7OYWRBeEP404usd2aazPwBQdkbT9ASlt/pbm+zyrqRrCxoJruUv18ZNRAMzorsIuqoB2PG3t+ZVYHBth2YbxGmCCDJkxbHnD49QFcVrwBlMl7GHnOz8JbOiV+hp5Ne2HKqJj3XudXCk+GWmHXoHvLHJrYWv8Z6MHJoHLMHUxHd9SgUPggAbhVgcD0K7tpaZNpT5OUgmIx36BZ0jBmltxN1I/4uk33xqzCycrh5mBe2KvM/MJCOrQ/D7M1rWWmpDR9NQ0UuIt2OGhev5v4nBy5j4OP08KawUhaU+cY/NBCh0NTG/jU/SmTx32lcKy5BSiF4C5N+WeBqUr7XPOsdtM+EiJAGDTqu/J+T+ovjdF11fHK8GT69smiQY05rfsBID/bfv6YldGkiif2//v/ztlCmb6CjjKoms/VMfd5eF3WiG+kWhl/vWvdhwdi2iyaS0PfldsSWB8n2UWGv+BDmK06PgZJTKX2wMHhHzOPtnE7Jq0jRpWygQVrbFqLqqwYMx3DWZNSYCmPH/aAAMduMO66qYVJ7hMx1iox2dTg8sZfl0x5BTOiXRVmy+lQONZbo2vYVNLpTs0P8w5w7umL3tcAlICv6CFD8KCCG5dTHOZWBKPBYuLJrBSD9r5DVsjaikYDzojsZbuY9gfU6FcL87jIWX4691n0u8eRd1VueINxAqJ/Dqjqcti6UCSIf7wwHbhUOshPoEYWPNJnoj6Vo8J3CHRIrRXozNEvi+9xEBqCfy8T5PfUS9miowPtEQvTkoRgmCpp4nUGAv6eFMQCdFeC2LvQINIaV7x5jMuYhsN68NG4PnRR3lgnKZKk0G0rZv+VR1N3eDHVAH68WU4G2bBLdV3/abFZ5JsJz6EFiAw30+vKxKq5PljfH8Murce/U1sF/mYA+ZBIPM/zUglJnjcwzLVSERmPSY0BU3Am5AqXsMQ+NqlvSv7uOEcHaw9LbO/XjqKjuAWovAT23ptvXp8KXJatsxw2Oe66gXbyb7UyCUE5qTFzoh6nTwhShNu8KG4VU7TUKp5kF65RQxtDma8HmHsrBPbuCAp8wQWFfRnWg+5Wucmz5P6O24/AXQEHtf3Q8PpvT5ngaBgc4JFHAHjMjOvLeiZzLKiZI8LODa4LKzej802spjc3bgLzyyNSAdim+amo6WACsbCEw51aMIrF5l9+UVdrhJh+ZttgycoHFPcJvB+pPkwcl2qg4K11Agyx+FyNly/gVp2lNy8thPWBenAXrG5b2lHsAkH1ehKD6qYa0FtQOBgq2j2FRGnT6k2Yjwd1N8kGy0ngBZDFyZOt3a5qddYjtJbWho0tEkD82lMG/YzrQcOo7GQRkguN6+gV6JlsSH71mi5QSoipeuIhytoYOCxH84eDRiGmrF/2VW5uBbddUdqnRr/A1BBjqfW7ezUsocw35oFWL1eJtXb/IzBCi8bOXD00kA/ULZKNPBqCWwG90gM825O6W0LKF0PacSNVVZ5+oxF/JVc8bzDp5UJBbL6TWZk9QYnl+Jro2+6PbN3brGIOkmBEzjuvPCHJWD30XwawRwh9VBCEeGTbn8mbYF9FLip5NMeROsq5V7ooOtaHriaxYw8mOdvJqumAvFKgwXNPe6ZmvDsI48BHD+Uf2kIAdw3Y2r+v+Os7QcenVWb++elUjbAL0cF9IAIO3iD0IonB3EwaLrm6D+eY1OJveE3SrhtouBakHL/AePqdewd14oVQfdMwu+xqnDO//DKeXgg43G9aDgtQ1uc6xBq4pvwh0s3gBWTwfqhaJr0Z8Ur8tt2COHqSPrUOTXzrNsMgVEwXKgPE1qh0YFMkVF4EEek3AW0JJ6pnQmByIg4kykoSoe+GSwqqFKdcJSafVgxdcTmpNfZocX8ly7gN5Gfcd/WsXYeQTvhbTu1HkC0d+WmamVad0ZDlt1l6nxKz3LlOlckx432vnU2h+idAtuoKHVGDGmDq76UknX2QmnVvAduQDyIVzxT1Cb7wiMH2RfUyxKvB2TwwNMuvhwb+5UIcrkfzg3IPIC/oQ//4trnsHk0WsdgsHZUIn+5jgTNMWBW49VVdYLhB/4vjVqgOBmnCU/KhG9+3ArV9rxEOUoKpGbSQAXT0ktapHJBPdinGmx7/IS5te4hb6sreQvsoI5TdI+CvwWkL6oMF6QFYCC+0s9XYgjVphJV81IsfkCmwIxywiLMiQ7NO1y9CU6Ftid9eNY6jrZ00AaxjZtJQjSya1qvUxtl1+cpuKGnpXMAlusRv7sdWugLcuaxbWc8BtKMNfk7Vfzve6U/U/Kmp5T3AF/mY0QrSecf07Wkl2M+WFjjDPZX1L9mkRZHQbeZcAAv9u6DE2cxd6dxMqB6pwE6+X9jBeoGrnpuOzLXVgtj7F+X6m3KmRV2OgXCQ0xZlm1yH/7XBlXRd1Cg06WiztF9+n274tM52qH4mYCqbTVnz4xe1ORUc2JFqtyiJh0nYtPdwp4rQXao23ECmZzfIyfDHRC7sbkPHbDliVKT7ifcjn3XaLEv6BUX/qvgGrriLmTjhTKIbyvn97Ir3aPPjx7tsYBWnivBTTpQiF80Z4+jjaQXapPdQAPuokZzUnyxKaAcY3AvdtnnHS/HnXIEMA4kFen2Rx+QdR9KkICkUh8ePYV7GlHLAaXZD1GjV6zV3wr/mJUI4AJwhDtNXmITvX5vIKlmVrDqVw4UnPzONKP41nhf8M5WjVj/Uty89iojS27f83rDUEQe62sNH/xP2ZtHLdptgQhJuQ+X1YrN5DmCOmR5htH0Pumqe3KL9Hz9TitVdSkKuZ0U1BOe0+Ney9zeCBcSCmhxW2F5niTWLZSEnCd+UAcLtybDZBpv7FqOJhwgXcNAClntbtY3E9Gba5PHWAhoVfq6bUYvNUQsJTFmqwxMvS5a+DXsimTFMs2i0uMf/vTJKMn2cEX0ea8B7cbg7i/sWuPV5OyEygLT9MnXnglBN4lzTHs9moUOMrBDiYXvezLyxhRdIttGmdsyUKTYv2NFtxpPeZdelrUUgGqpYi+/7tknmdVFqXPunxrcM9QMKOAo4KztTLotudUcXyb/9r7+nX18yK7cqzeSMSZAfFwG/EPRXD+MdKON4wye6AIqP0ByQcI1WPlxdl9PwBhC6cE5P40nTBWDf1PC8Fmdq9uersKX35jluOHt1c2uKEBdV7WhvxqIr4k2i0Xnrknf4k90ED3XdfhZy9l/TUqe0FBt6gIxZ0UH8q8LDFt6Si0Yp613ckI2nqDbCjQQXhvrcg5VHuYYGwLcE/zLwrbHlTNf0qdTmT7TERMtDQ/kpJVUkS8nD8D1+pgpNn/bgnBQAAb9/rjG+SG/fNVRATwih1sn9hwo2BCYFypUVfTtrnAZcNMZfPo0/qJrzbgMCP4BoTUbLE8j1usiPxQWo45hkn8+PsoE5iXV61KcW4h0LhY6T8CM16l6XdfX0idd9LSVl6m77VHy3m27NtNIOnbdIneRkawaIwLqU1zmTkUIKk1z1NagXV0JKPIurb8jJsiYxnhXfU1CT6oStUTN9pewxz56S98maFcunPRlH03KvcnbsJmolILCeEG0x0wz2pBIHSwUjXnCTcUdFRxIjbrb58Cgedl3yCB5jfxa9gqV5TIgpUynQiu+WlHgTK/2aJYaAfYTMKDuTKeSk5MAcr/ln+X9xte7DRYxQCz7wsGTsaf5esCfBgWtfdfKpnwgndAbt0/eDNNu09hxdcjpkmrt1wvD2SUb+knw9MFaOOChYA6rCAPpYX6oz9ef5AZsTvY2xm2F0DjSj2oRE8FfHlVEJgcUOJK4c/AbwjEjNADApdVtNBbZQ51M6Y80YwzFGj4YZisZFGoRgS7gQ8Vecs5pS8AeM5PIoYBjkeWTWDnixTJ4QKnTy28D5Tqw2Mi9bz3MPESEzFxWF0nYDL1q1Rl7L5n5cnJ0BBn0HlgkqZHST25U7pUAfFTcsgYrgeQVlYBBxgQ6nBfPhy3b+qwgT8oj+J0q7G7UU7x5ZEw50RLr6bN8pbd1wX6QOui4EGO3v+TvXtX4iPMPfWoKXpBs3qhZLla+9f6iTd9fa/3AGk0/7nsH8fcWGbXBo805laTmmxXtNMe73VPl/TSbDMABhDoqwNowcvACN46Cbuel3RPusCEZMYQyDO5DscMyFMJO5ByNKx/xop/GEkv3+O5QFRK7QZ+Op4p8cceV9tVqItnas0dKuQNhnTxCDQWfErG8+IGx31ibfhZoQBnY22sUQZYCtdFIdISowwK/vvTpLKOrfS7QGjAlteaClM9nJZgzI8AunD7w0pGjTtIQaVa6WViN7iD79NKiM2kneGz3JzXOI5O59JhmOVtb5HmolI4fty7VFdIuuJusz+P4b0Ls5tP10/bidFOC8bqE/IgXbI1wnIRJeSR4oraLz0Ag2k+2PCnRKc0fQKjk4kio9zRdJCGUUcH1rwGrwj+AaAfxMBnfiBKtS1I4yRRgOT2B6Hf4K67P8ZwG3Y8sTG2uIWJeEri1paY3bIHba4/syjdB/PRzcvDkl7iscLrD9g88xMhhPAtS6kZAMS60lC8lplaVtCCsmu9GGamf5A8FHLdYDqsylQ+U+gyNserCfvpdcBGevoghjxDGQE+lRVAnL8kHv1bvC4Fhtsh7Vk9ZAiQq0qxlwCKWT6BoVBZQqQk3N8idQh0rBE0JEfMBJch9s86x9R9Bertpc+8M0gPNRPERZjFwflsTNr5Nyeya1Y4krs1EqiO63IYUv7VaAGv/gu58dZKZedFtgiVJxl2FtYV1p5DLtwaCy+iyUfOMdiO+9je4MKbGA4/7SlCrjLPS8H+cIVohom1E2Nfzcc4X8u9EDtVf4maZ1NLR+3B0ddZSZRPJtxSDU1Ux4u81YlKZt+L/GaaOa5i9ujpkjqmCdDWxVe/kroR0QKRiPqFTRotPAgtuj4jBDYD3KNjQusNLPSq39O7/MlfVjk9677N+hN2mjb1BcO5+21M7wt7I049aD/4e/TGO+vGb0rugK1SUnRWFeqg4gZ/p9AN+h19d81moESa2LHAn8GGjXTSNmlYqKMLgsd/9E8E8zGuT47wzIEq80O6+Pq5NM2tZW2Ha73ikfOrDudL+Kyzf2uA9IJu5WHiZ3jN0xzG1Zfi/Jrr9f1ferzqxY/I1J5n8+9CgfuuLsqWoaQSvoHVefZ5o0Wa398fyhO3uSr7/ByoIOQfAArdRI46JF2WYLcQal2t+35wq10lWcR8KWcOiP4oX4V1yCBPQDZZVJlzRODoOGdZXqTm4LmKplxKPIC4j6O+UXi041yEAgZzajHxVHK4ZmoVlf1v3uEDry/ji5U2iIx42XghL4j3tErraXylR9Sdq7YMmlW5ArspOxwQEu8q4rPcubtE+K6Kx9XQus82sThbEAgTMK2/dCsVciigRrfEdUwH6AyMZ/JzfprJk3ymuztqPfKATicW0TjJZ3z5VNsfRH4TEfoYjbMLLe8Q4h4XxnchXm0ox4LkiTehH4vBor6F+1ec4zuXjWaxjRG5J0bnZ8grG1Z1RgF49to0+egMAV3qA6FH3ZnU/OUajuV8JDjWb6rTAs42Au6tzy/lv4/D173CvqLp38LF0IM6ZkTOAXcjjL8xIzZyRleeWG0aReuTi8EY/x4QrKWghlrp4Pd2IzVXN9e0GNkPIj/KCTGDgY6+wdWwcuAf+6JOmiVIrmxJfNkVJwlYxWf7h7ZtBk57ihzUmV8L/dyvIRj+BifTzNCAJvldOs1+1vrywgjZwgYZpdQCb2FkqlQT4G0URGndnQ2ZE9zkaVRahyRZ8HDJaF/AeGij3eOXIZ6PTFZ+UDogFCCOJeTauzP24RWUC9lS+ulChGh7qLMgo3wdB9bJHbVbsYuWA/wc4Fhm6rKMFX/fvn6aHHbp6X7mzk4LvReXdYukKqWAMpW5FNHk7GKdzhi154oK6TRlvyBkqOswJ4/2810eoAWgbyr54lMlOAuVSoCdQ+bULaW8bwcwEdDIgeHe4pZuyMabrKmxH/9Er+2KIRXB5KJlaGlsSMBxniejzzcEBtdOe3EQgJCHGz3w0u7eyTLYePi7/wTUGsGxDDqRFeYYtpXAOF3PD+KZjJ4twKf5Gi5Qmhl9FL76YQky+OgBNDLU+Xj8R9G2qUz/cfrriABgDSdXvtTSjY1XWxxYmKnCjkv+3b+ZpVNCALW5vMxg7N+LRFSehFxHLN0KL3cyK881qNBpgBOv64MfSlntv8wM+KkOgKYDZKH1dtVe0ccwhDUfJvxlZzkPI+QN+R7qfhxAzSyugWI41+gzbUcij0ezj6Kdp2vp2lI32yjofT9DiqNG3hbyfTUebQh35hi2YdvGSnrxIIv+zSJqU573AuyF2GWLSj30/j/906b4DxyxPAMNocvEZVqoRRKG9NhQS7cB61z/UFLJQKYVTzyySLpxsRYMfZrbOF+vycKQlHQw8xfDKsPTG/WSFQBGCL2YgDnAh3A4os1DnhJfeMQKvW7ARi3o3Oskp6Ffq/VjkhvGT+f0FnxqnuMSaD0DbF7zyH7LIW6NuFPjW3D5tlLBIIGU0SCUn63i/Kg8tkF1BvBe3FfhxkehKpsuBseqj9ZiyZnmlKXP9a8OzgbcOBGOI7Du7Af7bLFVXXEGg/skSB96x2E3m5gB0iMLPYhJgJGMyT972DB4LBzR2GTdUt70g7BwM7dHvWmRiDdTTbcP0ohkutwv/ggxcWbb6M8SpnmuCw+mjI/CwSlZLrnvd26ttymUoQP1tL7U+979mVJk5F9T1R13R+RWQnHLpx6aKc103844vkDKdJSEs5M/33Ohyan17jXUMw2t0CXLiCL5ute0rwc5yaeTVnBPUdIa5v9z3pgcjQiLkEgGxnUc/uv3MItBI7bCccW2nxvC4rX+AB0SX5dfTgQEaMGZWvrQY3mw39Gexq7NMCyo0U4HkSqJPjwMv1OMo2PEhdU4/LOfzQxvCNwvETdSRjZVlIxmTfsLepatuwZ1hc6xVrDdyVKy57qXtYK+UHDE8c7z9Kp65KCSiGTUy6XUp/6dMH6amvAbopB5r9CgWMecXLn98lY6IXdr2GVE/hgIyy6/LfGxNvZ8xoL6++JCxoMQRFcGEsfbTgON7qqt73NgxAljU255HDwC0jlw1mqqa4M0LBXt4jrlAv2J6XBW4KQmDteelTtGAt8zoISiQBB+Yi1aeIfTI3eW/q7U6Cf3Y31otkRVtzfWF+d3K0LwgyYrO+3mz7bWfwczrAKjSn+U22jqoP8nwTVHrozY2fWet7Rm33ccnnTi0Wp8GikroToh5WWhzq8A1SSZhgIFHWe1BXsQgDFDSJP3C9mJQpobt4TVxL/dfMV5Tyy/pcCK6O8Ys/4jyC4wLdFlYtvIKsQVKGy+/wwCsrzaEGOIwG+EoHhmzz06VBFWmbUjAnRWAVXrSyYyufD/kmWyc6HrCiWjlSdXDfwR38C0ALP9Nopf6QLK6iSL3UNiaVL9NfMvyIAF/lw4ifZ1e485tdSpLpDd3wBnr7uFGJ2DEUZddc9oHc6VlWXhdQmTxMD2V2dxbp0LM9rMrnmapNBrapPcU2YaKj2wy/lFOuss7DLf6ykWkomvCrWFmHxTnUVVdNl1nOc/qRwy1/HWcjVIClVGMFD6w+LiRa224brJHe1w190pRK75Rj5g7yoLgIZQsE8eEeqDJFCQ+FcS+ccdXAxuxg1lhSvbzupDloRUVoOkvWhT0Rld309AYPHVOAziwSr7pa5yxwJffNL2CNI+Ag0Fqn8URfNxJv/0eBe6rrl16q2zrb/ghX7hFctuntAC6ol3O42goQDehe1zHi7mNbEWnLgm3GqezkOJyv+dB8rT3Z/TiUwIlCI5kEP6mcFYpzRlYoZoyx9Xh0WSqh7saShLH3sJraC6mPSFmSJuTKSnM75Ivs8XOUXMBTx7XFswAda7mKVc0gSdXntGQVTZ48/8rp35LMTJK0eQoRMos7jZPj38kzqeCwWpNz2kRn70rDhw5XpDzMz4M6jyAiGBILtM45AZ0Sm7aqJm+RFnX07dcf6860yVBkv51ssnsiFnO7460hsGHRSLbQBV1cCekxKM3ERFWD3lsFGbVQ+CG8pGZp5swhdyltjga0AGWFWDe/Nk9lJ9035gCthJtpPhkmiwnka4IrUxNHELhgd2nEaxAp494DPVTEvLdSwz0/RLdiT8E+TYC1cKXf0kYIPA2/XJCxVCSNRDgBq5LM8F0yx/AQC6oD3k4rvmFJT6pdv8nmnETvpFjYWiPiSxMjts2GgR3weBVLykSJqiHUQijVZzDReuvZ3eCjZX0976jpsONgNUisuB5ld6S0U9fp0rR4kkkDjW8LXWE/Qtyl8Qa0i16+CLhi15t9pIVwyK8NA/6kDzdGg5A6lliHi0b1lL1acBP/R5dJQpErybBWbPAGg4Guj6VoegNBjqodXcaFPBRDRK9CQbVStj1JhYU3vG52VMJ+3wVqEe55vjlzT/SXPLC7Gh19ZCnyz/WVGwGEdexEl7vg9K7Lanyo5jsw4L6rMObLylDJ3FaApxplCqn4STTcO0GU60Xz6pq61SZBIcOu/iWXGvW5rRkIU+5lj8rvljeTpeeEQ3uf0W1V081Pv4I1a0bHfDfhzoHgBywuXgdpa0Hv935ESXfQoj4o1IvhCt/ZvijRFD2DAbAYNcLECuv0wVq+8fMQFheqMfewRKaXWDV3PxN2Czy8G/iH/uRh/dthDoORwv/AWcHp75GG3m/E18znKianoZRJDB+zXNBK3fnHBm/CaDlPJs9VhmosQUcal5CWE/POjvfZ8iekUxnNKFBJC8o4VI5DlNryHByld3jxdWrGjlFAW82my+2sYPEdQG4eZNZOjqPGFwCgc9NKpUVfujipRepC2kSLZcMYNM/vkPpsV89eQUc8MuFS2Mn65KNcw34qbDlxu/Zr40cLEPbGSo8vpyjLZLuHNp2k3ITc0pRa/nXEvCa0WQ71BIPy/KfrVq49GZ8VgNO0cuT4BqQUla4+qu5a9mmhskMmil00QqTj9sOMcLdXHPSzsJRBAtWNIVknZePpvAwJjJLOI1k+wWSRvH83EeHRsqCX5EVQDqE2P0kRYny3HlrUq/XP7UWZhs8eMf3tnkLqZ3PpLZZFBN0HnGWfRMHr5QibGDds/bZlKTdNEpI6ck5EJqBFR6uD8IBxfR4uHfOATUvkY+DN+rzA5+XhS6SO9GPIU+vPGmIbbKEX0nSObvVJZBS+LbVdZyciKKKEvhIY/MUaIabYNom9Q4CvioZSKtdkEtmsrgMx5MEEyG/3sXUBmZZaqD69njLx8BkqMvOUfCrZONacPa8oKAjNlpvlA/h0FnFe7dAJId7d8GuUKMJglxm1wrQPRdtx6e4LSvDRkfg0bHruodZNmQdzdwZ4SJ0gS8ZB7COlTwPHjzmLM55LMif/DQj9OOR6k9v6x57rMON/sHyomk7efwcdEF834Y9p2Apnn5BVHbZnFXEt5YvJQVIziA30sTRejaaGbjCRox7nhlnoD7xHQcHpvFK4gTWCzomu1BuWAlWqL+t5PMd3eEuHYnqrHjePj89DOtYLynT1XEeZZCCxpsn2It6ozX9mH5cDmMippBaWB1JVpr/fl/Y3wC5rWPz02EvEt/5ECLVdH1YjKnyL6xSPODZfHIDG7TaDuO+JZBt0EREdx4fUSeLOorE2xFsCA6aj/0StwZoNS2p/pMXyMtQF/P1sQmfXkqFDF1govzkt5Hw2jJiW+eYD+CaqExVRzjMlCqroUVMVzHA6zTRpf9YR4ujFaar1EgAmNlq+KVPriVrkpiHGGcvwObbrcWmzj8htQ1mezUhcIjW57EasGup4vvvC9I12/4mEXISxofE7+etqYmVbR+xwbk+1WABbnPl61Tz635e49Apg+mRutPNBj6Hltge1D1HNjv0vMNu5ENLZn4n52q6y/ZymwfbPGxkG2z/AG344KOi4td5zwHoBLEDtQ0VCZrDfZ1Ca7dRNIrIEKd3Kt+ZbNYpgXrOixwvjsqKKyHa2Sc7dEBdi+zg+D3FZm2GgQ3VKp23pDCsI+AVGY8kZUcdwqTL99cW62W18sNOJ2njUenBPqYF2zj5SX5sk8mL8oLGWp0TZXNOW2TAE11Yyv8pOic0TT0OaEhPKU6PcuEC/4s9FijEgRcTTLdCefWKmolZCBUR1DNdKhahkFTlsqSWiUsMwa9bcPrFkYMbXKoqMdcWAiOVu8qILXw4ITGAJI6eRmZKC2DOKd7dg++srAZnIFVfrIFTf3Bfp/RBEO6Y+a7MmMCR2quSlkLb8nr482/oM26fvQatzC0fkArNhsaVLp0807LpZxsalIPTgAgNTL3AAwhA0Rg5iUlusiERYAoUc0L6hODwpdhVbw818S1lOxIlIXbNx07EZ5O0trdjkMg3LoDu9d+j4QEA29gb0qzVm4aLN+HOEtsURWp9h2zHhVGbMvXBjx3JO/p3+/EmswdioWTXYzyqqdq1DxhgIVVonVB/DWgx46KirxsBxhZ1hy9zo1CHGy35i3YGFhtk/860XF+jTjMliNilQ95nHYsJz7A/dYsKkP6z/YejMajgOcsVpJ3fHsJZki0VeXdMPqc9MkYo6reCdgjpLClbNWQ4o6wnTooJJrhvXKcgYgktKnQ2jjQeeIObY9laYcOIOCQs9t4aMbyVdduV6ls8dI3PqYp2RvP0wMbeZPCKeUQ2QJ5XZ9/3oh5J22Sv9sVBxmtM6GUhE26tv6KUbhKrohqTCn9RgmLLIl2DggNFEnc/QGd+qSrIQKkq+TTXxkYZBZElrQpop9YYzw4zWFsQykVRAu6X6Bz5w5VshB5wuvfAMHZSqYwRr0BImMP4x3J8A1aypxA9cLWdaCDr3bzwzMuVI2XwO35IIWIi0mPTHHll0ekbSOqAHudiMQrVE1UXpFXoBZhgA0VRYmxdmqDxGirVHeB1lqmYNY007lLPitadxqpDQSSUWzQr2mCeIsAobIC7BEzidv859jYVXqpJ/3RkjbhyU72OwYb9wWazz3//R6jGoXeAaZkD/i+/Dkx1L054ODbvlqcd5CrT+JC4XwY/u6jUK4VlRhM4pDNycs2uWZLq+ZYZl47vC9jkc2sbR3WIE60Rc2zFQSK1nRcbsafKgj+uQ2wvk5OSdThz+z/HNxX+8dHapr0aIogszg8dAXkKc5UPWgiY7DOCXq+mW+4uBt/KWlcE9zPNsUPvLVcTm/4ax4EMaYrG6oY7AXaScvHeL5YZ+EdF4biX4lnf7Rnwiu89Sz6tm0EANiKWefWaFidhJXdqCJZcTJVwBxQp95Q7zlfX2LfSLlwhvSRanBRzAgQH+AgwMaEae5U2yoWoFdH9WXWdNWdfpcuAti3aBc/4MqDn9SfsjOf3F3YMRwCSTJJwuY75wiHN9rB9knXIHm246Uwno7fzST5ZBMK02dV1sRr+XvRVRvAZuAuuRnD3hQf6KvC5ByLd0LtokS4QySQN9CD5Y4o5itYFg+NygUr2JgUqrddTLAmoaBxccyktLTK7aTIem3Vu1CNXNmQIgC/Ldxok5hbmJfL9Opta5Scjct8YKJfhYPVYvTSdUZ03hnoc+dF5n+oJDTr9LfuBl6mfX6pFRMNeskGdQGVfHkleJTQzFuz/3sy8qMGZVPjyzNA/OnBPcNBWtwgaI+QZc718KqGMuiaPZBWgt98vUVHJKFQvH3baJHGTdszY6Vek6b/Vrtm45NbtlwYRBlSvcYrM2iOb+q9XXgdq0xZstR5bZl5KQ8hyqZOV0wkGfxNTUoVdYaH3I5dRWx2abqX6W40B+6iHLx9lp6wim36aJ8fFXJomc669HiCzFX11JZ205wWGTSQ4HTOjtBLQQTKOTytleGViq8rf9lk/aYouT83kbgqkJnJbZ3HAS+yzIAb/wgs1+IsEoK/R578HoaHwI0RAku6CkiWgB5WVudCxAEFfdQTKTT9H73e8+ISel37qXh+GCCpCEXThSy9unz3pIyiiLUOvUpXl+dRr06bopDweByA8MYFbk0YmK9J5Zg7HT1aAq8deIQbMOg5FMEV+2WrGZd1jgsdSxzRPWJsmEMyb5LoA3vftrCufiWfNvvxOOCDoMqw1Ao12KrKJU4gCbtwe49wPLr9ItloiPghEgxb6UoaqxnLI5CdcbRlA8UkWWb3MluxKwfP9eUgzihswhFNgOZDf8byZpX7IjYf3k3mdDDyBipurCydpUYsgUI4zjEVKntLWgHTRNhoiJhMpDW4c08MGM1dG0TizehODmhRfUTz7soYNHtaTdu1/y9YjYGDKIBxPNS6GMBzGhjydkWeSbmYALzVVNG7EtAvO9sE2mnuyt4Ah6+8O8+jGLmfeO4wABUll7DfIhlloyXmZH6FRixRuK9r+q/GgpOtnguxUF57HQM9pzYPjLz1SvdSxRxQAuXwdVg5uItbtVKLB1fN0TrzpzCWO32GsGilF5FJ3LkYOFjo2m03IivgM/8AVEWKeJXZE134m8W2djVpl2QgXyLASwobGY2wAheBXRyqHTqJyLhCj0vsYlTXN8e66z/SUKdxVp6unzuaz0U3PIkuQdVDRLGQ6mEhOlZv4ScHTlQP6+7XtZO8SisX+ST8OUcRHtBSH6+dJU3Y8mKbQFJzgLdGIAroH50s7SwOX/IXuL4YJl38PWCOhclWXF4hg99StFAEZRtrxXPK1BTDNBNKu4pj4hXFsoMYMxsuXnUcZpcaxQv3DRkGKDCN1jHSfm817SWipgznmyYTjLSIPE4WTCFEh0IsW2CDYdNbA9mKa7KJE86qpvDPthSnkxkCvl3GsEqvERfsADk354x2iEy4mTEGHm/ZHVvFNhDpd2UYXF3rfer+lhCZ9DxeYxABp3YjEBuo+EODbd57NbCOhKQgpPx7EL1zNnWrjvfJk5HlF+SGOIW7/RCXVeiExVv/1Zktmc0n1nHoKU53jIgd27nQncUQt56l5JmQmGM/qaTnFGIIUUlLIlmS95sLx+Zdu1UJGRawxNxDERpdjlkdFazw/d4q+hfBhNqbNRDFWnaWhTQO97yjH5hQdQA06Xu7Sd0O7d+zIqdZsbUtUkJdvs74iTatr+g1fvO40hdhwA8RU9b+xhhu1RIfB7pRhlc9o9v3XRHNhFPxsQwI6Yb4qpY2gD3m3P3e49PCc4iWcSDOWN7n1XvbebPR4VCothGG4r3W2Df7iVW7vVwCio2KqJRa7a32aij4JkTb76GETcd6+pvDkcSzUE7nk0a577dEKHqSvdtCGezFIVNMLvK3Ar86lkdJSrXtc0/73+mDc9uIkmfjhXb8rokUK6/E/L+Cv1o41+PBtma9YMIXZNUCvlMufy4ifMaHYzhDk+z4I3IM9Rl5MMAiazwoPA9lLJhi1OMwOo+bWDOjqKG2s6MVlSOosn1HifZIPs76i1HFgFSB8+H1iTaQYiO9uPJjjM+TIa6Vk2rdO0gsBuwsPcM6725YvA943lvI/FKFZ0gYAaN4RIVbcdXzHTf7FIwoC91atOa9uB+OsXAsGZQ6kKynE8XXnC3Jn5Xwkmvnp/VVFsO6kGe11d5lLO5lSzwENdClzzAoXkxkx0n+MlLc6hQI/tG6G9NXurZrgqLjuSvQ1EMjqZmmVOfQ8ubSXhCyiv8jpPP9tMqeOFvI1hpQ+83CTDn3uTbHOL4LcC1tU62Sf+8PzH8Dd80KIdmQLGAlEF1YaTO2dlxj0sWF2VVduV06C+D22YL2KxdPBtXhbRCKgJR3X87HEAiDZxRVb0VJV5sgccxX/ISiX9FBMLu4YMrSuyD5UmXjsxLZcxp8U8lXfyUr1vptOxvHipYC4is9Lx1bg5rqjykb1MusmUm0IgIjaTGI31duNL4r1/dU3Vu4NVvMgeItBj7plvFsr6A2NKHImPEAdto0shgv2c/ZM7QJdN4vq+4VAucjKm11qR6pQV5hZw/tZ5VPcD6uhkDsw2MAKgbv0Rf6JjyuSQ2mQ1w7sVsDtHHc8pocaKujWoCAAxByR+nHuH8eY5kTuBPSrW3HP8qJc8FXNC8K324oedO9wdRTZqjTxN8/MBkW6uY3573yZveXV1M/KU3n3gVUjZyk4Ys3CUxS569iD+wqR8KnfMQKSY+zYQn0rxMYeFqL+lwtKhwNzVQk+R2pbYhsCQ9VX7i4kQ+2+CTZmHo2F1G3r+BvyC+ycvjZPUjCDvEOXcLBACoU9eD5Bxo8PvA5r8fO3e23H+zzLnfW3OVYwmfOz03BmCrvDk5skzuj3stINqFZZiQGS/aDwcmxFMGMN9SynkjareNAEpO7Sffgl5VpdhLS1YgebvfZcPfIBEM0YA0UO5Gnge2FEvSI9Flc2rs8YbghVct4vgaTAcYcIxFkyKUuWUb7OzClz5FIlakSP+xyqAzKYU9Ap9XWWjHkTDhqDPe52WHbyNy+56GMd8v6bAg2iqS+5gxS7XfBhzQ8enZuSLctg2/Wj3z1PAhekv4OqRa7qsgEfsdm/tNG+U+VsagHJhixLHSeJV6AwqJUeAyrrpLRAyNZ5x9nHnNB21NpzQo35gfgEHThkAVdj8Fgxq2RmuIicVagbeWqcgQXV0U5yaH9KxxeG254LKh+K0OcQOTGQKTMDqbcCPTCyDJrQa//KHYtdt4lBqg7fQbTav1h6nxYC3wrBVacsvivuMjyDCmToM4UIRTAafbEmcEIV63P3dc1JutpFjEEdzVfO7GOiYFebGscaawkZEJwyZJkjdF7capeRHIQAhT18ue0vzqVhhiBkDXi39Q9j6rT3FUoY2V7XZiPri03bANo2YHYAQZGkUY5jpZBKRlf1CaVR979w86O9n6Mo8RHww6o2O+ottPTeSWcj1aaEu4hDFPRxtFNIcgNlUmj78r8AbS43f26XW+va7ie5v9x/0zFpmNdzh0+g+YDLgDet5DQEu4Tu4erohVBFXTW9vP1LeXIp3RUJxUvSFlOfuoFzwj30tIhiYJY46aPQWoU9Z8xfQzRr+ZWwDaHaWxekiGj21y+Fsr5lfwDZrg52AL7Dzm5srL1a7eKO2N3IFkb4PAXiFo0yoqYPU3myazTJOK7NV5KPCOSED5fklGng9pU4pb8BlARmT+6Fj4igc4/nI/+Jp0WGrrONi94jFHryMbnFLORb1BnsDFVOw9nQ31uk2DdREgSV2RmarukIlUqAGuGTi1rlESCob4dFQsaC9ou0ohCB7KqlNiBwS21O0hpN/zjTaiXhD+PnANnrxDYPRBzbdgJFwoOZ6BlTHqcPJ97LZxMJgbi5yKUOR7gNmG2SdaU7pWJpSHQ5+8P1V8vZlBUstQUN6dHy/WjLU4LDqVZmz6wtAgQJDlhDZU/IFr0XketzY8zPp9FFdqQ4cpoQ8JFwk6imAT6Yt6gIJhM3q+kvN0/E2u3BplmU6r4uiQIpultG9GanSJW95WUqn5przad+iHbAu8fjPKPbUgtOXNtZgFaD1jtvzvM7h0RpXQ7ozPkjvobRJk/uelWo1jRLwPADVQB4p+YjdNOiRGSdUgeqpyKILlpZH2PcqBPsTUjrhlAt362AAu3/Hj8G1wP3I7bpUhxIoETWWElMmzReC1J1A27F3JIwjxYyIfKT2zNBx0YTCkwSFMOeHd6+BCffBNlVYFGPWXLeBjjt0ytz7c67q/t4qdAFURkkHRirtWshY7lk0+BytRv8MOT73K/N5xtJcHrqugiYNnywvqvU6/HbMmjJFX08FOcNIU7x/8fD4tNlCkYkR1xw/2p/qUu17KxPSDGUMRGKZ8t9s3BZDtYOIYa/ZYaQ5qVO+Wz4rkexGgAQ7DQGbFArBguKpk5iqOnrhazooOOvMwiLiKl+BuljLzw0lSY97GP+M0q/JYLpHHB3bDpbvRdH3IW55txkdeAOqhZeoa+h8g6HVhpCvBb2eY3OUdPNGG6hBBV8PKAv42unDTQHt5Pqbse1bAuZ4vKe1FpXj0tpl5VT+Apn/T0bSicEI3CI5SaQY83f59fNoYxshi3SOKTbrHrhnLNqSHTD+vAL/7HkCYnzb6e1dLIj/XDodLrCVLRxqLpJN6FQ9/8GGVHd2j+yzSQblIgnaHtgQfUG7rDDmJpyzCEzk2qg3hfLh04og5Y3ZLhHC4ObQW81p+Ch31ywROCafoS6ccS4HCdubFNBCgbgezo/dz8EGUQC+RiVNIlNUgkay9V6qRU++rLKA2ujs1E/MnEHNf0eyVOdYPEy8vTpBSEfQyGJcptUY4wak1MoyDW4FO9AHeP7hmUWSaXVmGLxJvE+uKv3K41XuMkSiZg8G61w8q4uGOZtWR4PmUgi1aQsVil6le7fDynf1mIjTq0JjaNkQt11TkJYrdtpigKi2CVhtzxSQ+ZVd527ZFB1mRCGuEjleZgSoJlaGvrV3SeiB7BoxCR0/1ywxM0sbaI1lMsNHyB5eyGVHxFVVWu52vNlw6/Ro1E9qR1iNnnM7TCbv/LCbcfuiXe+Bm6J5m0dvqGWKmWDRwWm7JfKNOgIazo+067UxnqJaRbCbWrxoiVpcjzS8Ht+WS0jKsscxG1J8Is3sOx+s0GpJF0X2MF9IqUdr2HeNcwBIxugh9PiNKvV/PwqZq0oBNa4JQPLpMUSB93yG+p6/BJddZRSFWTD9pBm6vGCm/3UUzP+ft75OTRs9ZBKz1MnxjqgQjY9wNAX9NKMBlv42Xvkz2seNGIY8kOEAb5l2MSAidAYbUl4yRM8RbsiepA7Wv3MT0/8ITWhO/pgWTi5rHXWtg0UR4LYM7TkbpbmAEHHuveSTVsCof5jkSjpqhUDH7+opecwRgb31Gg3orvo1f9HePUPGuOfQplcBc2ao1k1PGzHUQLMfb+fEe197HqKQ2iGimvMxMAMzmnfgBsVDRg7BC5VeenTI4WL5OI4OpVpGvfilQES0PZ06+TBZ58sbDw+IvoIhXuNwBNFmJeHS2HSBiCPPUfmaBZY3u45h2qDGpOJe2ZYX95ZToD9Lb8ZDaMu3/J9iqm2hJlFqG3lN5BOLVrz4WvSdrrvhqn7l5DKwSvBJTkgUE++oZJTg04n1O3fEx15c5pk9cORNgMFXdtYZct9DDyLCpfcZrEWTGwA+6nKZ0pYqNJISp35tIm7vr73R4scgNi/jIzu5PFvgNvxUyeUSYPVjjmbeE2w8zdbsl4PtiAcNh3F0fUUUqJYl6jRCAYBYLZMrxkCtRjj8AbuFaU+6+E/RzsNWeG8VMJnHK5xoje1Njzpj2YP4IndY/0BmT1Wc/dAHDKupmXx0NKj77uJm+4dkdfOX7O75ptZq+OpJgD3db6bWnMhE5T5lmkGHjghhH+9ZAibB8ToSX0RWSqgYg8GALTQPxr3WZ2RTUWuu0WHWmZLaGSNEGb5YG3S2vy4ODmThxKcyBvbx1I38FnmCLGCTb1CDfabT2DUoGC0eNlwflAu9N+F1eerGZPEazc9WbQTfvDB6u8+fFWQLhUj3/OXjvIucr4jxQLeKRpjQeMinBKKqDT31uv/NeElGFS1oJhhdM2QxzQ0wGqPnKBKH1IaKAZc0BR1w/ZkYHMXgHA9H2sAUOwTn2IEoCScnFmY1EuteGoImiMKI9KA90wG/XwqlzpQURTSuWkbohVCNbobuMdy2YXnUexZWXbiKNpjAAk9cnkvpt/jZ3Sl707g9+X4EYP98Z9X2X8vdW5o+FQ3I6FO7Zb2O1wgB+8QuafOTG2L3BakJr5bGXu/cY6LnkK/ZAaVj1LQj441rKnwwV7s8tQefHCnO5Wsev+oL8095HEE2Obysu0Xqyspx6tZQiHsn7grz0QqVCOCslwcsjlz9dS2bCQ9FLyeRyDKhD9uyJnXtIxVxbihntWvC3e5rBl2DNH65djEXF9d7n8adES+Z9AHJ8f341Jv4Xug4635b5De+HKjkk7xtIgc8RAfUI2dYNJeTEAwcKgESPiWOEDCcsDmBQ7vRP8bo3tXuZCvrYKF5a49uPYu71IDqb7hzZBveRtLCPeGs0Kid4wTG6OJY5qgRbJuvxN9CpcH+DhOmPh303wfG6wwEH+PoWT9byLJqsGfmMwlJIneEgAiT/EO9UNYVBp1hu8/ln//BTTyb7m9TfXaL7qxT9k5MLauMzO0BE958y1RmDFqEten1Ec3zqmWcuFJzfMpTm7U8TEGge61jGi3n2JjkMYfw/mRL9pgsVbbccuneTw4XYOET4G8CQe4c48BYYhfz5/81sqvBKkFdcTSYpwWsggHPKjnzI5XxpeWxH0PHE2stnuVr8s1Rph3L/tv/BVxu6b5I6wTaH1wRkJ3aMQLpZnDTmEx9vuRIbdXywVVuXHszyiA3qUhsyCpX0s7HXek8z2zVjTh0iNAqDO1KBWp8DcCm/LuHEeZ88knz1oSQ6jWk1kyrxAlKa6za1PK1Glv0qpGdTYgjiZt1onihdKKSoSMzuchX3cLkd0FJxOyQ+Q7HVphr6Dbw5RKCw1rFrJ2Il7egqslDyl3cpwZGsqOFEdHiy6IdFkPMItQ7YmdeNyT+9orn344O0LYR9u9wC33MeCUFB8FO50koFKV1tvz9robJUEOHhkyPTCNrPTE5KSJO9s+dBcDEsgopdkKOklb5vEqjeyCj+JgnBqnbuHfsGM/3OcTXrQf62UIh6KU2SOrVTD4zjaunAAV1jx8YzT9egaCKFpKLCdRz4/C/ZqjoxZylxbL5hX3K3Lt9Hsu8GlCevBp8dxY1TWqb964yY6WNeUiya3Yg9noD/VauEw1r+h9BiPNVBtERMh3nfEiOsN/ES4BXklXsDqrp73KAY4JVfq1TZM2VgOSkm9dT4N3342q5TDu0lAQqVZax72EgjaWiB2lJreBvj3ae5x+k0bdus0L7NI9mc+9FhMzNW5E3I3YP1JCGAwH12iA2gYiSJ1DffNGbbWcfCTEW96KWiHPIuB/v7rFAHwFzleC0rYeeZdV7HoE18iALWuAwdayo7yk7Y1UzsnkOOETF4E8RAjsIWK2u721CAt2vHLLj+MFHWwfSV33Pplk5/GUaftzwqa3HJhHkuoAvZDwKBtWq/Pg9PsBRCn9fLNuA6XiQ5Iq0pJCsp/Toc0ayl7r7NyBjy26Qe48W0Pdur13Dw7C5uIJ/gV+hl0wkREt/iXzuSQNYXfb2Urb2ga/52wYOR8uGvmsr8EZSJsHdnyR8UtX9hfa0mHPD0lI2zUjgmDhQFkvXxt/HcvhI1v9Ah7UWgpH+96QmnW+P14Xkth47jEajfA2XX9OoJDXpfKUzuKdsiQf/LHmyz2NE5ytZ22o5RGibtOgStbNyE8HNqj+SEU3aUWHsISiJmxVCqhZ6Vnhgd/A2XOSbQZV4LYo6kbI0+briStvWBVFo+RkA2+3QK7aT4h6BaIrFfPa9vrj2bHyycVK9jE6IAs2Cjl5qbDiomV9yAk0cdkpmP85U+Mqjj8ggthScTn6xdmatKsuY2cCg/Ts9OMvkWYJgAbvw4BfXr/zluLhs+jKqjb00qWYs7cGoFj0gnHvnr2uKAuHIh6c8DW/D4VMUqyo6mOaXwitOd0y+U3qx7b/Mobg9FUgwi2vbv/hx4ZoOm5UEX0YYCcmu+iMsV2mhG1Gn5UVwLLDlZIocaQTz/9dwmX/loaRLxFEeUmJ/djMhR/UBxI4Ew/LH716D7bRvT6QWdZ0jFyVPd+V2/UBhV7LSQDBL8zdwZ8LLw6wATbWfLLr4yOlTZUrOwbDcVLSrXnxz7sa5+aD8V5MYll5lCrTT8xztlpAMA3zGkxWEaO95Jgd8kn8jibjbduHBt/M29kt6YCtRz8JlUeTV/U6IqRTQuzZ7rn6GtPHRxNk5JLfYmP9LgBWMF11xRrlh0hABm2OztNxNbHvDFVU1AP6yWqhIWbjVeeUczjsHPBFOygNy7gdIlKHNv1lkU3JWcg2i2wG8Elsfq0TgWgPeAltmoK9p5bTOWFFFyEAyQvvZ1AVaboND52oZUAoz2CFbbg+x+gP/L0q8H81YbpaxtgIvrbjC3iMGdB8Wkd3Cz2YadBdlZeIBanYjZ7oEA5mcZxKKzwH+45So7olNPcHWir5pvrE2nlruQd6IyejBKJgKQcDOhRJfIXzZa8xzLwixzgDgzKBykPevmMxSrxCs6lhWIY1Azo5+IKp6PaEzYk5fJkC7Nhj33ru9fA9w26n3y9rxHNK1CDaXW6P+efIGLIr34m60796Y2500Z+P50CPaQbi8LPa+O+YM0IV5R03CPufyijdEYi5IVSkK5OA4G7rZNzsDwK5R5nwq+aZvg5Pn7EjEXWIjIMJwt7TByOLfyaLeIrtixHKQSIz0Ehym8ZnPgRe2HxHXxFYo9vKF5ysQJ06ikcDq0miHqXh2UWcHJZIrwQke2RIv8jR0h4do8aELi5HZazbYBSsFJdmGDoKMj89vcTFHFAQv06ESZ+ASUrKmroSFEg5G62kS/228Jim1cbQpYGsxXzCDD1pznIfJ72w/FAp/V8ytw0jAVcIrryIDZGlfz6Wb+vcYbMIbQY1gkosS1PNCvH9GOGkcyjroRYZPzrNdUjezVbA4YwcgS5bIeDvpKkCQ7tPxZQJEFisEbM76h2TVZMk9gNf0cZL1Mk64W9TVEWLdtclds6LXdad4cylKumLSdzRMi6ZnLt/lsZcEIdTe3R4d/3lQ9u5zJJPOCk0ovD/UDPtVXflwZj7vXc5e+54TB+DkNZlIBvZDcdGPCARQvId+44bTOc6VgWpF0KbrMPCylBNQtLhhGWvCcZP9hmYuMHEqcYCsXS9V7/J35+mtnbcMpMFT4lsszllStKjyCdY81tDebz7Z5DYbUtyN5xywfIm8B9HT7bKCKltEGwT82L9F5iShEty4CIN+H50yQJ7WLy++NLZ1WIJjkgZaRblvMRn5FJRgdXrSVo/3gzCar0yERKHAWuV1+T6rtk9H68mJxv3pZC0N4GbYReEi0JDzSheylS8vOoYCPEOKiHdNudNhL0m7dPN/VCkUuoE4uMrWX16BoPlX8Iwwr9q+QaFQt1x/rNwk4KwJLQBhRihIqmLcUzZHDAgl8MFRuaIg2ZMxymq3PUrqfhkvLwXG5jZUBcMkVfon3bzn4B69MB+Vqo1jj6L4Qm7ywcofpZNp4Vr/ZXCm7yYrDhH81nWipjAeEzswJzk/TcFuqpJUxAgE/C3ZFPiuRh1yySAvh3THS/KlUNETIWul0IHalgyYSlnNxHtAvFqL7SS29STztkbrQ2EMTssTu1ff3TMTYuvvexGiNXbEDq5eHrqbcLpVYVS+nrkV2p49Dq59I8nu6pFRIi+ZSjxu0Svn4FmcM7qbyM0r35I6yBN+nXhAfCEhizted6JG7OKuk6c2ICixsiYSZmrGPh4VfYLtCLK05swtN48vd9o8+HSr2P/3Q4YmON6ncSAWBec8Qz20t620TqIwAK88pQqacBwAJ5xGL3vCR7OMhv0tTEKQfNEPR3GyufhhXELoP1/RcRVvN66PSQcM9RsxLKQZxVsFc8Yi9aDv0ZxRS0miWLcK2vP90M2XAg1OZA7vAagBUs5UUnRijrCME9+acmA5fEw3O9IFoMRD1Cvz+PqnuNlT6Xo8uj5X+fJXfy6KqKvD9og7uFrCNVG6SVUE1k9tD2gelWCdw44H6tpbRKqdpWjyuFoxLoVsFeaxhI0abkzFUU5Y9Y+xeASHCtTleIokZiAZX3dchXGXQIFtuiUboZ0eQMt6nbf66UfkoaDu+7ab1sUv0pHa8JbIZwrmUTBVe0aT48Ux5w3uDfMuQoIvD8WwRCCToiHada6UWkYHtr2iNs02kB2yPckHkwg0Lcx5MzMvlgBVCAEWr25wb6KEBZ8U1B3ktXS9jJ6PbQwGdmNdllB7xq5N/GOJwQDQ0/02rbppIIMkOZWQEqdKsTS17QKZSjXcyMASa5lfObezjrpcBOaB0Pkr9/00Cf7j4881Zbz+/+SYqEz0oxGw/w4HZDbeRxLKz1Z/CKKduEfDTf9wO4IrV3eu4QlZH3VtpRD8zDuP17RrB7AWIVOYeGap+4AoPvhp+oA1jm2ry+X79nYqejR8TR2rI2l+FKqLBcCgHlhreZ1x+t9ddyMmEEl7blicY3Dg6ZnaOAwJfgVvroyKt15u3DVw+yeot/9drxj0G5NKwr7fB9JEfLSo4dWjDgd8yiD4FwR2wQgf5PJi6ijfGXAAT6Ioxv4vy+2Bh10w7Us7eKKnuTwGsuLqNf9HH5Oq7KAnqXR/0F8D27k4jfePOy7enBUyDilFza+vOKq3kcOfruzO8wWrgtnGP6E33eeGAIxnMDqPN+RaXSPJZc8fDRTF059pWkgxaT1+Ak6THvIIGzWxIeK6ZoVQ5rxuxR0xbw5+NFKCejoovBO8SUf74BlQRw6xMi/4rhkL92bnlRYPlXlD07HAFLUA93UD/KkbuJZVOweUTuy2dHWDEr/rOtjf7DzNqUBgnRiiCSyMhKGG3Ho6CSzYVmL7riTRVRznR2nkb4x2bL5uXxCjU5WeFyY7BCkYtDmL4Wd7tDnPOIth96GlQkFXRsR/tES/Qt14pTgtpTQh8nqKOz5VMYDqF+ri4E9ixlKeNwOyK2nDAtyQ/GxOzVLbI5pMqOG+SiJRNIuhCPzRuvg6KF67nbT6ZnWqpnT9ft5oTa5JLibBNh/ogCQkmk7ukEBa/ocuc8rCO6+PNbVgca/yh4hfzBbzpwx67gtzPUcZUHanch1w/QEnHpG8ddbZmSLdMe/y4DUw+jgYRWt1n2YKZ1987Dcnx+NT4bhYYpinl/L9Gi49p6s3/0jF0H55a35VIXlwrEjf/8pmxJqEy5sg3SRoOSxrmrJZFREtyrOgOu+ugMQ/rDfviArJbtrprUTG51FaYoUx9/nfBz7TXFVZiyUIXml85gu+wDrjzrUNMfUKg0SSF82952bv5bHlF/2rXgVX4K2clDtMQXXFMqWLx3TuLpnHrhgc5D5hUg/RwjQdJbtUbPRY5mfkWI9MGB9rtkAkgFqSj56xK7Y1J7uGyVqSjtXEdbIlVvJDUaYwkgMnAUrKEEIx3KklKX3YF5SSm9GAhEfy9cfGtD1u2sXbLQy7Hz87cwMIhukePM0+BqMsIKWtNBOdUreUnGVaZy/NFcjs6x54iNGKlEMiP4R8QQ2U/b6e0sh+R117Ryb/gdclpBESTaUyrHCbbhxKf0eusNzYJd4OvF+kO/QPjHJB3P2ahVa0uBwJCJ9PtsekV3wct1ifWhENi42GfJG2zQKuCoFAmRq+sp5ukQYEfycIyIJaD/787ry1YrnaWbHnzQU7YsVCqKG1rCZqa7PfJsLpAVRiWsf4huN+KUoC1Xw2PtAW4XET/gGt0qnOJLeapFlI5sa8qufQHTQJV24u5Kf57yqX8Ll5FWEFRvCJwuksD5/93z0Yj/gFKBNakl7CFkh+J1clJRaUWJZwnzKpCHWfdafRh6JfXP9c54wG5YZIXD7FQGMxJ+CdWfoXnbUgAg4/NfXC7f6znozWLzmySQ2qhhbjv8E0YfbQHotGMdSFdtAaeDkAbSEqhOsSXJucnk3rMCQzgMS476WTh44FSsra0JCJw2neUWbKa3tTT0cr6r/ZgkgN3vWQ87wDG/7wapKuRIAdgjGlLC+1PXC3EKxxn9ohnUnhohqoh5QjV5oMVxD9tSV1hyoDCoVJTIQcDOxXu8lPY4m3u3z6zpfteKyQSJwg3V505578dhnwCI/7X/O5hd5fNRB8fhKLiCRzgOH3mymHBofWf4yuuDWNG67AiKBO/yTuFZO//2cxNItdKCe5/6hn0A2UtaPwQtIlY8bvgAjV3clRdnJ/ZBlugKtjV3JDDjEByAK84s1Jj6366++SiXnvrWvlQ2aR9hgenYguncOUYr4DlNcvXwBhkaNomLbL8dOZHvTrZr+Z67FUesUYfiNxUGoV7r6UmrZD9gkFICerDn3Csxv4d4uYYXQXNhQ2zpizMfqq2SO/FaL0RBsnKvGldYiSOukxwXN1GBy3TvPX+dfYjzHdLLRpbbIE9hTOw/JUqPgYOGRFfO4ixRLPMDKR1cUffL9/iaRH3FzB9BarOecDMgDbtnk98eveWhQIVp4RcxQCyVIdWk7iGuJXxgsdUmwM9nSexRqlInJsPd+xc8PyJNlV8uyOS/yRjf73bLnqRn799EJ6MEnHmBJ7f9RRij56eIkmSHmK9ykQuFFlw4yTuLBkiUnfnEF3AuWITEZ5KEyrG2/b6Vt5gf++AA6dvwWI/qhVUJkLDzjP6QnE5xe8mgVbPzMMbSB4E84Gwrz93rGg8d5vsIdDQRP/Mt1p9aBfka8TXGgBl1UDLAuN13BH4SKWQ1BlPkyVQg2Qljq+6CDCBXUx8HbPHaH2JT/C2zDZjpg4aejFA8JaCTQwF3CFQHqL8UwpCmud7g9bTDDwJGPtrx9sHTMB5JCFnXh/ft8PAH3cMa1MhtNGhj+14SsABZnt+Jg33CM4Nsw9P91RrmPLWSptQsPAZva1MYBy7z6eHPITaPgNBljRvGBAnxaHm4yd0UU9l8smePjBh3AHmOQe+ncUtJDOkmvqQy2h0SBhbXUJ/l+6fiE5PxqJURVbUBX9MEurjgGuA8JA/f3HiQVT0VVbJSypmAlEZ+4uQNYOmCExOMSFSNthdVv0QjJNsJdFxXFwzKwzNg+8MhAX+6VoV30EjqhZkYZ6Z7YHFUloKSrNgfPKAsjmO64h7+RWnwLk6EoRdA1StC/bbdACR/G3Zpg9GxwI1KriMgWXuhDRzF7RZkojoUNzkh4ZAZxLosi61dnMrWdIY3N17+yU3ipLZtyqeVT3RRxLnfS8EtgJAVuY8q8bveN2Z5xvMeZB6wEcUlw7hZhlN4TAOkJl+luv5+oP41ghlhFG7eOUGRPdcG4bnvqN+R0n3AvvqdUF896fmcOpgIL3EQdaqxaPp8KB3r/qybZCrN/Cx6X7ifG5cSsnvBVQcUPelQzamn0VVjL0wM1kWwc8nn5Pw0a0+RtPhJoUF5GPMH9uYrd3YguBOVTW8MHFVg6TAUDvSueBdDEl77Di4MJ3KBBCcc3L1vJdRmYyenITr/JlzKczjPsvrUMimOxmgwams7hKYSE07UeNXy009CDklHMaGoP0nIVeAZQswaqPtPYCVAfcaeB3vjovx/O8Qo57UW4xdBAXwt2nvDKx38D84Wtpzhz/fqKSvyLjsT+iXEWXuiaxG5OfoY/GbNF/L49phywIz7tT9Ly7wLk+qcenNY7Akj1BqAk5aOHhslifn2SRxQuAI58wj7Q3ZrbQqaoIWE5Ku5AJfyZ+MiNKFLttzuHQcpCG1q09+oYtSYDPdTSgKbuOfJptoYvxEXf5oE18RJWc6z+VIcjECPqZW8uulJRzbr+X48ZQct6C0c1lmbiD42VdL4uc7GO3ckQaPodzGiSM3OCxA0m3kS4VADTC3Nm7pFidIFUayFF6YBvBY/gVOyUFN9fwjaCSuAhokEtD1P8sv9asC6KmfHk0eEUqoi4KQcdTug+/1VnMZYc8pp1JWl3iAjnMpfkix+cLcaG8oabroi7eCf/MbYYiEA1gqWoJop7qx5HgLesKz9a2jXd9Xu3zOHVaZgPDA+V2zCC5xvp8tKjZq5w0nwSeTN5n0Jwodug1MLdu1IoGaJnrlLCQf25A0BTAbuKh6NHanfA4CGrKnPdrQa8rF44+NMaQtHDHe7sM0zlqWxROkSs5dGegzdWyz1Rz0chf1JPmyDColAkrK2KF+Feocoj+itSHZf0oc79jESq8ubHY4sYuCb4MU6hJrqdFBgb2Rz/NcvLVUdxrcsprVOA1jAkIyDgOH5It+VY+M9Ldj7hOu/JP/J8+oq2OfAsWZee7aLR/UGcwTeL8rKuoLDXqnsb1nO5QBy8wlvl9kbBA6J6rIem1T9fZp9BtTucl+NDYjyRGMegOLi7tk3HL7eSSZRTNoFbD8HRRABr0v1WscQr4j/B6qLgaArvhCfD48A+pgqZwwcY0Wg+afru0woPjM1C28qIrA4l5wTBePBtfeOB3q0yJtMIEW8+BpEcvK2IRF7AGOcBnE5VvTmH6KDMUsdS+9jdFt7iJ92472T+NuRnqYq/cXMkeL6ueXryluPoPM5eoHwZvLvX0P18GGq5n0hb+SGrilysuJcI03Wa3ZxcsGzEC+GINyDuWQbZdschtilU1jm8daBZ6cKgWdrhNEFhpExc+BVGhA2gUsUmAn9ZaR3ZAhX2vmYdaBusvDZE4JBoY/RzoA1fyJ6ckDgdl/98zsuJVp8Eb1oCFLYULzkPx/r6FDYZzpNSBTGCnvzf9vzXcM1Hr2BhJRKFf2aXgWYdLHJDjNiVRlFaOWuJDeuQozKjgThYXZAuGYg/pqdj/+R5ae8txrVRZQA0AMkM/miYJXNnfr8JC5lok1GP0ny1RMUIraHLo+9HI8SEYritKhwLwA0pBC/2fJoohG6GLabhZpMDqMaP+RNjQPKEgFJuAK7yH3l7ZNolhh1NCmm2QCySBaATie4jrZxLuTc8at4UNa5DpbJpoPN2pkWehFJZHBBgv93BiepHX0W+1225XsV6OW/bk2Yb4qicBbYQ6EUwjmWIVfehThXw4f2QtmxeL0JFen3+0UfDU0czo7i1V3npyG3akuStcCAtxinvbkdyOG/pgnmYCPnG2AU45jcRmW/+b1DeuDeddrOn2nhJQD3Y+fK85ZFK7NnHJpLAlSznHCpHqD90fzj8obK2hCtHL7Lpd8Hz6v1/8ogp1yUeqVDVSqYhI9HZNneBf8ZAN9r7YWG+M7r0d9l+ujrhcIm/BelyeY2L4LWjHvSMMBa3YHOWSaDlk46f8HfL1eB+qS1GVN2gDcTgTyH0ftFb7+nV0lC2xUh1GPXb0Gt9jCjYoEJDLHpDbHkTgfcVvKxSjbnQZP2FrcXHz78VfIxPFrvDBH+VgOg+LPnVn16pVYUekfT9l22+0+mGPxSqKIYzliRVyMlscxXtvy1uN54RDAeAxn+t6y0WLVX6jVpwcPQw+mGrYRBSbBgdL9TqZpa/FaSHTOm7gz7ivd/nXDD+26ezWTQeiY2XjuiRV/Vza1KxbxYZshEce4fzyBreFb+z84vSrnGHm2HrBGdI8P/cPO1BwDqRAf70L47E56J9ok5yeOdm2oigyRcrtgujMV33F1jbyXxt3GxVtWn0T9uWA1jrTbK4YBbJe6hD2l7NU6+rcX+G8aKJpD88hOZf2Ikd+AcUeICWxXONsk0CItzdQdw/qUo2zjoTjcNQfiePgGGGxjfB6ch4tLtUoyarfVdAGQZPBEF86/07XCCn0n2Y7OgjVW2IxzUwTwcCdaevw7KM3OCWqTGG6Pc0oi+qqfgPGXjPOvtCb1HbN+GFULOKeNpOMCGC+beJIXSld2T+hPV4chnrKv56M1KK0VRzUO2JonJeE5/x/09EUheYH+2gr5jCmlL8gI4YuZBhOGxoc0OLfazoHDvhGICxt98jRlutBQXcazKk9MkctkzZ0CUS0TuftU3cz9JDECEaLDAF64fccgYW7EKoeEyS+y1JarE/H/lh7dGxNjufm76wklmqim6f02dk2+guzpY2Ew2F5jXovNUZTgT73x/uK9K/90uWRhqMh7x3HFaToNWGS+juY0xa9Eq2G56yKs5uPIQ5InTuWUSKZeAfCUsVhItCKVwgpaltp1oSuyy32QtxTF18x/BsAILi65lWZVnZ/5/63HtAVRdhuGfVRI9ZwTNIttlJc7mt1LMeCT38l1FlNrm65kHREF/w5JGUevnTQfjqIuTVrCgEU7wiujsB6BXyyJUABtZaWvg1mb+FypCy+BHyvsCkZ6eIaOSrFlYBU5pyT8KTsdFrcrvIEJcS5e6Pv7P/wzDpy2M12mQpzusph9mwSDKkKrSkOob4+hbxP/h86uxo2N/vzueuM3QKEbtLb2G1RPJ8iHdfRPZh3BuhgvrgE2yccQ5G2I4rviLZ7dDNlYTb71xpvX/JWCC8EEjKMY3nb6AUUIE1AJDxHsTYRk7JLARK7iJckn2lR/pzSIM9PipnegEx5hK9tKiWmMrxXkp9dUpBeG/7ABxayiU4/l99aC/rHrzxcC2qhjgSCo4gw5+Qt346RFhxO13/JtDsIUjuxjhEm96X7Z/pnMNGYogfpk2+wa9RiUs92aE/pZJsGtq6zYZwUVsfhZJ+fc/RnzrU4voOOem8lx00a8kHtKOHvmB43QhTuAWLAHYOSe2vjjRAIE/bOmFg0kIZyGG8UA3OGj/wP3dgTSN3B6lRn0tPEn6hs+HDCUJuk8Am1g8QneBRK/mroOInWDffAGWV7hvtL7Y3hOcNGU7pA2z5p0rANwkoz3Hh2BEkqo8EKXl1a33bkLtUc5Tn4JSCh2XYB/MYuVf9u5BFzn9mn4jFnAXRMfgs/bdTyqj3atfQVGCSu8SF8ksdQ1CNNOBReZHzFO7CoDyHz9wFtoxQ6MRXhCZx8WZ+1bZG7id2ErZ1e55jfGmfhU7SQTmgBcZEfAHshxjHICWskeIsvcGFmOjSNA/D13ONnfCx9CspBp4RJLSpuiKzzm+qhoTI1fViSxvVFaAQ6icifKtzdhdxHdRMzPIgm4xs97Oty1Vh3rcaNH2SIVdoYgPnHqGlBf8KAbnXc8LIL5wf2bnbusyj6ZeOnSfz9wusaW1fdU1tL6qQbUUahWv/YXMJLTpwtYNbs5m6nui6ZTrKfhNmD3YAmjrFrRZ9m4zrmzLlPc88JePaizBkq1+FcsSsA4txrZmfQuiQyNGj9uoyKr2Vg1SSH1UdQmFUsGAXTo4xW7m6cxQt7/Lx6EUQcp30Lo/x6aU47OCUzV3v3ETsv+rIRC57wPoC4qCk9vF27GJKrYHy0PJzKOLt2NUN9lGUaDmMMpDPRlqYoT7OMOe7UvXkTxky3Vz5KXJEVyJqE4lEn2R7NzDHDs5yjpgJvKSQgOqGIfCorzXvcA8aCbEA7M1ttzcGh6nmGdYzl+BAzMwWggeuW+pyEJshvqoowzQd5VhOcG8zOZCAgpA1CeZaIirPrj8BzQ8/TJVe8kljGf+nrwMnWvNDbKRs0LHrWVfjYQlKS6cKC9hNrAsu+6TRdTidRryjRRCW1MVSj6IESjKhqZZa/1N66I1A3n1HNwjXNO/O6Rr7XHVHy7fzK8gC/f58sXsItXQf8At2+sJxVB/sVjQ7AjwaUrb2QNAXQis3CVPN73ZoNXlLmJLYYMey4rYsXVdtOM1uvQO1KuyDRdMtdxPAClCLL3Yk1f0GBvFleo47GRLnbfUKfp+mVlEf3Ixt3rQecT1sN9DPzhmyrYYcoqShUotEYDP1DmZ1eqI/qHZOZvCOXXyW/3Mxjjif9bG1KbVVt+QPPHYvO907mufpm9QhTrATK6ne34o9N7ZhCXQAFthI/K0GHKorOmCkvmMNBHdUH5w2ExWKmOUocgqPPPEmNSs766/Ihd9Vzy/hiOU8MKQqFeQZQ2WWGhYZGb8s7ymXMGbNvBxvoUcnl9R8GT7P2LmM/gHIvsxfD6q3sRBtzCbm+Ykd8jWs19MbV1yCUfBfodANKPikOKgzbmZb2omBFDxccgXlIgJQH53CIsl7ZKS3PSjFlq/xBJL2xgFfl5OOwzhk/Dkt4Iu/yVjtKHDqqoe6xl+6t6mZ3vszIBjP/Oe/thbHZjsj26pg+bD3iepz9UXpipLzaxKimlwxMC/rTKN5H94L+wTd+lj5sCJfztbvFA2z8eA1fUzmreWS0LgFbs/Ul9CDzi6MdYsoIc6xdzvtqvbpNIaAB/ZWw1sRNkOypHmeopHYWnxOVRwbHOPwiYWNLGL4hXiOK2ujP0N6HhkQQzwThSIs+EW5TQtL16lcw1g7kuMJJUSRRazye5BCnwDRdDLyUZi3t3RPJeNALJlb3OEJefTpKB2h07cY9sBGBRoDfxbPU0o1CyFMxpRN9Tz0oCpIVeeM7VgmhAXBIZiUt0007ItygJ9mCfvKVC02DMfAs9FT116Ad3D3334yJcrWgs2rx87kCgBYFzzBX/3J4jU/c/hPjAOnqrNIe2g/Wia+SuXxTbznX+BXxdZlusjvK5NQx+cyku49tau2QgZJQYB50Dk0Q4PT9RY30pnh9DED2gJAxhNIQu77rG+9EbWAvJWaF5pao/4wx3YFAoFaWeaQv9iif5E9dhk3k9IoDrg+PYpx4gvln2pme7oIkC6OkUXhcjwnaz3bKwulhHIAHaCG4BU/2XlaNT1Se0GrpH8yREAWHmiQdXF3wHGr6Igko29htsoGUmo/9cYWCTMHgnJcFIEPlCJwzz8cOFyLpDOPM59c+P8rhc44dM6csIEvhLbcI1oPWUMhbw9ysPhfQngCus/45O2sHBD2vcY1ldswsTRb4tvGzCI+/ASgPVJEfRuxXwx4rS1YCVA+EWGO9VR9f8t8HI7MkTVv0ivRHcUN/4qR9v+rsw1yxAyGirpbZQuz7tCYAYN73IBZjb0UM2s8cn6NMNRhtVbl1XVB1V5NPimTH5jl0F4hYf8quf5sFx/Kzo7P5+6qbul6tJeF1w/tp47UHX1SlzwdMUvzToUhXhebOQTe04J5gERR8jbUOTuqoyuFdZSG+wKzCM9KZdmcAqk/MaBernVgVBgX34rAgz5mYPvfTefJAIoAFKl4rNdM6FBvgTd/Zq7wEEMnfua6tyuFNnLIN0vxQQdFSVURtmh3IPzZDRSXUfK8si0QEPB3PO/ek/+Vbg+ZQsnP/JzY6zl/rEaf2vJEHinhLYa1nidt8iBYqNyd2cC+Puo5Fhr6yYGgLPyXTlWPwtKsMIVQG2NmqWaxE2ZhIB/6F6KaDA4K808D3JlsrAqWkPQ8+MYY1f1s3pC/g7ZzjF54r/ovbr1fs0ec06RmBsd4jHuO42h9NqtDr99KVPEeCfTLic7LCnUwz+5P28sLpd2u6lXg5PkgjhEfAoxGceEJJ+reit6OL8SXnKV/SmFYL8w2p28DPOxb+Il3cECcqDPKjXQRy/4F89tGM7LnzfEPybHaB33eV3AC0fGxGfwwTEG822NMScIzKkvK1bl7Q43taZqaH37TKrUobcdmD9sCHKYMnYIR4hq85Y5rfpzYcNjIy4U1UyHGqdppHbFzdscVPuAxVsENhS82prPWMDgoXGXdvUMwxpzHek0A1oZyBFKedKFpsj8Mxw/fnajxq2pHF03CjEVEolxUnnHSjaJ5nEG136p3re9MqNQrcKN7qjbOJX6qKlZW8FPOXFbpkhJ7LcX8OYQEaHsuIa/ppQgobaUG+gR9wcnN/F0fPSLXOpNAiGw1WHp+YOAHj8VzJ/I4c2nVj87zQvXKRJEsj+QqREg+7gcHbSNcVZiVxUw79XsIWkJpxHyLWEb5dQjIfWayqJpR3zuWjH+v1njRCrkRs5e47kP0ChMWYyTtl6Ipdjb+SUBQGrgFBu6QeTr1IOIgHjnjh49rXwo36lELpKk6GTYOBG8CRvwsiumFwPovUdgBekehoP8WmLPFZLAwRRZ+EfjaG3AVlsll8E57Aa3oyZqXEXuawUu03zO3uBlFSx+7rdigr4KOvP5+CV0wzEvbZytE41vcfhAhv3hJUw17wXyO+r2EC3cY3kevene18EsKl0U/H9WtS3iPtchKkTNtjvN2u1cVixmfN/bv5JIglFvKjIo3jIgogIMYgkYLJ9sNopR3BM8ur7K040HLxj7BZ9H38yZ096PnCDt7PpR3eAnCBKH+mIGlrXOL3yobActTCUyFG4czqrkM+hFwzumx9tMu1rZvyumN3SAvMtml95xn3X8lKqjorRvWQ7ycUIGL6ht1A07+Xfp4zD8hfRZ8BsqcEkjy5RFfLFUbcxnq0Nik6AVijFrx6gEiSntpCrqHdOGIX8Ewd3CROq9Iy5ojWDNibgXesRo7OXNn8zKUuVajb6rLCZWyQsLbOFguG6vjyJkslUBG5Qc8CZ7HKRONWQXtnSrOg+YHkjxfFRbu5nuNuAbMPOCjdXr6bjOHw7do/LNHOsB8gfT3S3k9S0MAlgcLYeYTwg5gJBG0DrobDlGm2/yuDi1bqH2dP16GPwNJJVVfKNz2ss2vLiSzHsZJKpNdU/Elj6gFOrMtOKtIiunjzczBT4cY7xHt6UmTd/0x4VHkChukkixbbBVu5BImIbxeW1QfyPZhyFgc1I3InIAA7B6H4wsid4dCB0KcZFsYCaWQz4A8qkYDOfutyS+Pa80XOlXxdqOt4mEfJUsbonnOFalyGX9615TPKCpodrfwJNnD9Jp3I2qwfnzdFtSf7gsRU+dCyqqbtWCJ+vI6R9bD4+isKay4aSFaW8tqaw9wa81KXEDfEknq3Ifm/s8bAgD4eSgCtJPIEfiHoji3rMD5VQVqOnlUaXHVZuvnqwwIH/2rdTuXwlkLWzjWR+5MDp/kzhbFrxRsJeSlcv16p4CeViV9hkEt17ksPvRjxhrAKHZ+g1ukOXACxEixY/ZVUkNtvSFvV42sFIoc0t+DWYao+jq4hpq2RQX4is+aSX7ZZU9GykkXgsfMQ/XSO9xmE/krtN+k8OKhLQ7Y8ETZsnovnbJMmib2q99aTrt432m4OgwDi1GEWFV5RRhHD9u+taQxRRYvQ4JOo/sJcq1UyvELlLMPXwjJxYP+f2c9wss9zVFWbV5wHivRkMUiTzPHkGhD3+vwMDtAz0HcjPLwFX/ZE5D/WNRmpODPCTo5jvnsqew4uv89UEWntdoo8iTIfB7kyxnrCXEkGNmtgjpBO4L7ogflw7m1QPZAIE5u+iSVQbhT9OvFI4euZzod1aJGFArRbRwc6GI1f0NadJv3+VxoOOU2KTIYk3+tyPlQuqVaU+wf0PPckrmkcd5tCPdMXb0ChLcbW/KpJxbnzcbBXcdXSN0dXOd4TMyaPmpb+TcuoXbkUoC6KBs+6IGESQXD+ZjnQWJ2V8HpoXBp/eYgXQh6lByevXC109hHZKZ5FrexvL0/2CpT5BBE8mCkn+1Qows2yfZDCRxvL/du60OImUlsPDpCNrfHvZVPBSl8UCQ+MwSMKrS0pSp1SsEtXnG8YeGJ6aZZYakK/1FY3mMMAXuiJeJhTt62eACm8Bqv2Nrq3pkxicq+zXjKbs8mFqFCFGHNmiqSF7/kK1xzRCMAow5eMv38mWzNe4DFGMAJiXWwfsUQyIWzf3vtn3axCANe+YzRSfHQQfGQQRMMmOQFB0h+50wHLQnytX+YqymlPgxKbYPQoSRjABnUusUlwVqnJ1vVMiOorZYhNvnzzar1LFBY2C1wSIjq47PI5TB3AljdOBFd3/mapzjXe2E02oYwlcwgpo2WrpKjsO/NSeH5+MwpYkTEIi9a6vsQMJ6Fp+826rHZ1TjOlkcPFgrahQwVXUnc5BdaeHlNcVzs6PszTUH7op+BggAKoZPkKGGu1rnkFkrJ5VbT2NiTCf5AXUqFsiVTyDDyw9t3f9ji+otipkjsHKU3agLdBeCrpJAy7E6dalpySoq+4WpXmD7dfRIWGPdLDXTtyMio5sC1F6tOMnL+TCXUPZFk/1HOYhvT1MJJ6JQmj2LQ19ItvIGwDD6vmRISRpjwkOiauvYV7J/DkWdiOBlOwLkyOpHq03wiZ37wlIHacWuEnCT38qIbtWo/Z3wTAU0eFdLa6Fc2XSQhvFUZEpov8Px/7jZzruTyqHqHg1E8u4UdT1oZUUPbWULhHtUFQ7Ozb+nb9uahAmSIgL+Y2K/4n35gC7K8eCUjH6SOS1gCp55lWv5GnuBWng+IaFXab4K4KODd/ZG770cMZ6afdpB/AxRkIwHncYyof5VGBpn2cY+HWfFv7zyZU3iDgKNZ7SgAGbcOSNO8YyTUkwI09JmebpafZvMIvvvt8eAA3mLTp/DzdoQCnAN8mJPy2svV7qMJepNc3Tk9hFzkWGPOCcdBADJGSRqbn2nVH8rn2I/SJZeo75m72X2irV8qF8+6JbK2IZ9vHRGXo3D35bAW4HfnYwLnm47qa0eJ213fycoBzfOCX0z4+NMe7dWdIXYU2GQKRRIswJfqEwFW+qwomURriEyZHyTrb6Oi5co0PSP9YphMbXbUYWqQKdCZxPQFmgVY2JyxjVWCfEw9Eho3YuPw9PHxLToOap0hrXx1Ifbc+tQto5ElkhurcQACR8ub7eWI56ZcPEuDeYVJQs8b+gRprAbWeTFo0BgJr6MLaTmk6eO43abqosjjvRxXnHaGVilE4h1ndeLbyMZYaB2LHbmsZwz5F9kcmu6bfGphwbTAQmTH+gEbM0QViQZRYzUj1b7z926OVCHzh2c4LphKZD980B9MyUXpO7R0/V/CMebgHlkVQidAez99oXftb8fb5XFX26MnxDukuk6hFZnfEvb0KpqM9sG2y1uvWeHOsA06A3ImFWEINdbDlI3IMgnKf7hfZba8je81c21QNvrQFshdv6NF1eNwbH0YqJ9EbdVtMZ8MA3zGZQ2F/PdwNF3qkbnb8bYE+7/HnalCGi7rKZ9t5cirE0rmoYMemVmup4ufNQZPUg27yT1JvRKUUzfv3ndGSnnkVDPGFLeyVlprm1tUXnPr/hn+qJ1V8xWGKTdRFRO32P79Rj5Mj9fR6ddHjcFcBQ+n8BCRLuoTeqeRECYhHsgpQHtVx2R57qIxNun+suDcFYA76EUOLDW9HbWg9BqrjBrIJI6gtlyHxMkvhwKEx0k2Y79su653oAVNL5T83OruiQ95knF/CgrFI/WQD0WaOuH2gQAjsao5YtF7eT9TCK4pPnyoBglmnWQqZh7ovnHICoKo129SYXxP6FNXZKu4aIvKpSqfXyudcWfqACpwYCjDzf6ROvV//af4uBYtfsdCu3kTriLYjBiAffEzlSykqQ1Xg02VzRRWVNAOmso5S06i9rAg92ObVlwUIjB60B5iaUaI2u6chtWue6j9fcGRrziV8jO+kLVsvDKlB9qXq9rjotNZxphXczBnkvG5pbgAEltFnaUPPii2J0avUoJE9IBdGtyXAXuF9CAiNjZ+9baHIS1NkmDGUZ2gTXnYacTuzJ5y55pkHAEOGdA7OZY7MRfCe0EqVbS/AkSiM9n7k7tytNdCsrJrESfVWG6B962i6gNF6pJQWuoxLc4AzqIIeL9IHYB1yGhsaIN5kWcOwPUfS6IrX5R2PVxyEEl0lsvwAG2iBSvae7aoDCxP3FuJJH8FY3TPrR/82nRhLhiF+VxDELWJq+HIV548brYrzqv5kzeXefZxjLLb1SwZNFiUzzoyt/eOZBGs+cFjpJy23CdwX87QdyOQh78CQxeNg+cIg2YVLDGjuljNM6tKjjE4IXwqxR+IlyIfU/XaZVHWTyh9NESO1qX24Wybukq01u58FzM9DGzljTtGfUk6CN1IkqYLlYwMQJA+I+MceldFtyG3HbPLuET7QASkrrNkrPBlax6H4y5NQeT/W7Zuk+N4cFpdHSwbdHykDL+fA1eLADR2w5aN6CtHuQlzqRsXLz9jGWHVtpYw4b7M7GVgEmDv7QNDyeTFjy4i+RkJBn4M+l9XFCPT1IwpU6flY2KqYt/ZaK/v9zzmMyHGhELqeyK6VRvI6YNFe2kBgs=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U49qDHCcFuAJE1Ommi9A8hgj9S9vv15pmLNceLB/THrWt7v0VDEFeUyDo548BeXaOTuVpcQ6ZSron/ZnIV7g0iP39DvwcJg9WLm5HN7X1wjZtTX2QrwgngPdVIkzgvaslwEaXIicF+uH7Ak6YDLbRG7V2gLMOlt52ilt9okz/W+GkYfffzKxiPuOtFUMeEk9d/qGG0/QMUwT4LX15GSBlcc4VoAzno/PqQdgRa7yCdsUM2r3BMpCIP8EqeKBzhjbDVKQ7xDOG1uHYe/7h5vIGKFn7CQJvJ9oHrtKmzGXefIzvHnkEWRjKDoENh6D6R1RgSp07cqi0KQ0T6c3OFmbm3oppSBryBXhQNn59hsg0nlY9ByWdigKJa2cH2ZXYwoCmHxhhvMQOGjIwBlOx9eGlKGJb88OYJgXsvX6HPOxMjDLYIdI/e57fCXZyGFQzv+hHnao0x/GVi74+9ihcOiYUfw3TkfPLMQw745VEDS1dwhYZ7KxXieXnX8/0v1N6qmsUdn0W6BO1b9xxFQ7yiVW3Rp/grmPyA1za+gurE8LNx9SYwVyQzZnIrm8SjrSdIg6PXli2AHZpHUA7z7hCRQB3IDXF7WvWXyi5Fg5HEI8hmz67prGWaJBoSMWNZE2TuX0ubwSvv6LJH3NI+gOQ1snDiVjBHTqFQMeQXO/YvtzfsYOx9U/So6HkSx7QfyxmRGOtKeiZPj/LMvhs/bN37ecmUGPSmw4ch9cArug51/Ecb3dxTXHRuqwdrxXsKe172Cc2pkYwc6TY4ySOhw85LIlmCUifmXuXMewVgKhTaHwaEqwywEivGIQkguuJcdFN0FaXnOOAJoKUami4NZ/MgAtUWSSwEKGSg2RE1bs7T4x9nt2GbZRjm5hcyzvCoMKUH46tVU/jU5mHigcsCLA+dJ3+LsbEvLEN/5zWTZbZQ7Ts0H5I/rgyK4p1IbwE7acUtwE8Q0GTvqnCFLva1eXZPFBpEQn5UPqPwhcsQcFSZqq4KS5YFbWhyNRX5FXjMAyw46jUSqybok2BNvlpHc8lVWjYQpLumeFgBD+zTTMSPyHsMUz5J9lIHbK8JDHEJgEm7103BWPucnyU/xgBykPNQV8v2kUveuWZOsr4ankkUmc0WnjKB455N/fhTzN/SgI6b24GOFzoNGWRB+eQln0cDORI8bH6mzjnY9qLfTTI8OgWzn+7JpSLdEI/QhUzJbCWA62EWVKRES5FStmWG9a4IWT2fwzzga+43O/I2Tvu+rN/LuhW14Efd2plujHA5cTjwEsseBz80HYb6o2p28VSqeOyL9mFvx5IuJS6EOxpc0FrxLsf53upk7fSl25ZdifCjh2LDU4t5RouUL7w0b264JsOigVhSFRbYHduiVvIiKhZvoOpUNo96ylthpgaLBmFaFmJ5X/GRYPn/orCF1c4qidTXy5KJZCBHhDJaDhmfTm5ak5Emi+9QxyErmojeiIfWCAuX+2ksW9kDeNQB68utvGKPvS6ke8Z4ocJx7W32userzhsfHVP6bkRUcIwgp9QKKG8YxOqfvirzAuDSHzsrVSb87/ye0920YtdhIxrkJQhoG/WxeZ8xnZ1xQcOt1F+iWF3CxouI82ea2LdRNI8NyfkIf991r4FSUyfu9JMGUOt2L48mBURFnjK9+xqqNFkCZ9xIEScIpBoSmKtv1yW3RR2Uu5Bhoy3TrkLpebqX5zbycWtNL+LTjLK7fhMd07fgvi8OWnM5gNxkfzOyPwS7U4F/UxagPn5XxTBR8aJ1oqGmIUXFLbMJl4j270XK4VHS4dvw5hWX2LDjlHrqUvOzMUGnwPfaSwS2D/YtFo/8+NXw1Gqq6+LBoN/BWu5phN8A0takhR0k/1yDdurR0v8I1wLMHCj/Oe9WO/ra6wsT7cjnIWAVhgutu1TopK2EF6sFM73ZuxDLzNliPW9hwA5CuutOS8EY2h7O1SdsWnkfOZ61TfL2veweDOUKJOmWNW6psj0GsjaeKoYIPN0V6ei/uyIAPCuU+rYWGW18DfWGuONfbsdhHQZEUt3PCTQX2N0orauRoirmnbdYuQc2GRr3VyRjUmIKCh4aGvvFfGc1wqeBb0uku/GnzPNhFhjEXaM1/fyAbxeQTuZFVYScLkzbmwmZGDCpNhQPYqrrWWl1dBBKoJa68OGlbCsjp3ECP/DDs++Bf8lFwVssrOvTpXCO88sJmwxerJUDES8l9ZmuBAhlU6izRbncANpYZlXY1yU9oXWxbPI7GIuJE0lOV1rgKQ0PlwddsPWfr57VFngqUz2Ab9fS43ddnEkXnys4r+6Uqz8DvFprCfvHloA+dnieMfQKTx7XtOprzh7Lk1SUdpnKx2O0WO7KAxPye6M62A8ih8jOmS50Iu2NcJhuzpaYYtItV8TBfSHHhpUxkTsj1DF6otuISW8kEGjnsd7b/9Ut1CHS0t0PllY8Ih764vBiXRKVfjBi4w+4E7MKyY+d3r8OTmu6LaHy1iUrN9nHhZVC5R+5znps6A3UuSxpROjXwuNOd+uyiUTgtn3xBVUujSxD/89i2XiHV+019RRrZ9mYadAHA0uHi+5UjTYEaUOFIcmobjTNXQSPJ2iQr6XqcKYBHq4R1Hrr5GO9cAilFthD2mMIIXv+BJoWnaBlWUY9GFbjGbU0iXgzNf32EYpLqmVgIRodv08Oz+6Ffgb4n8/0r0l4oki/ofHLezqZPJczMrUMh7/0v4gwHwJrfP/tNxcI41g7nZL56vdaUADhjUNQ2T6U4cI8ZPDk5Fub8+dfF8WtmNYlT7cXu6c/UcVuLI4DKPSXSgLMonCwyHit2rPVDwia1wwZAAd1QVfvx77O/tI3V/x8KXDvx2bOnV3l06eMmPO5LAk4xH6HLODKjNtiGj4rp5AlvruBIg/iaHF1LPHqjtaWREPhrzZrqUREmyW+AZyMbxrrU3Bn8NZgbKvJumc8lnChoRBX3JMULNf4ARHO0LwSKS6qxALiHb4PTJdhWg0D1kXWrigu+JYea2eUThEGunu3udu/uG703aMlsEZriFaC9NqLFovvhBTglyh2k+6TFYUdILU9pjgX7sgLRw+Tx8gh4laS8R45+UGV/GKAu4NSc/vAwH8MneMb+kZEMKLAIJp6jwm8FoSUooC1WTs0upFKtSCnqd60+f0wNnXJjRRxZBCXw8hyf7GLyt6n9uu/14oNMUG8Ml/kLbH63THp+Q0QURGNcDtpqme8A7h6HCAejOnYIUgcUSEkRxtCD9eM7iiaXQmAGUHsDEF/SUeD/G4PLwMpBS0JyXInq2yYN7V4ZgYJuJ0gv+LasAAQrjHCBWnOZ7qo5/V52mzRzisdyYC0cJuiK6EGIj+oP72dCJjazkl7eXtMJ4/gFLX0WI+4NRaa0gmgGm+/7sw2NHE17LdXnmPKSCM1IzIL3VemRQzTxqmtvvKQqQU6HHPFCo9FT5cwdgkGryBoRka/N2I7sYQhQMfQOMICb/Sb1AWlCyJMuCcVKJt/tjwU1MSM6ef71RJLK5dyaVQfNLD8tVpwWF6lt880PBqfaj30Ph/79kTjY7zmvJYVMde/QIkcacfBMneLcQOFWztRcypS9361Zn3gnn0XC/SDVkwD3+eLr0eJ30oQGWW/WXQhtZ7prQct/RoBucrX6zLXAtYkt2KBzf/5Vr33Zz9AUIjv00hM7hq6pir8GatZt8jwlleHQazFB5F/7ulKHCoCA9kfGDKOut54wNZKA8qMQ74TxouEoR5F96jjAct4f3WLB4XprfBHllaOJvHck3wElxKj/0wrl/fXejMAMkMl9QkMO1mVh8grLcyZDHMDG4o9ncV7paHeN3UGf2G7CGRQhMNlILEUiKF9DRMRc+/ewfX8EN7cCm95niMM1nK7UZFWePMkIA5w++8enKUVMVAwacM5U0dZp79cL6sgHM929zo1oH1RBjhwo+xr5OuF96D6M1WHlEqx4islMKJp+u5VNjUuaBVWRp+CYI4lWkTx1hRz1H+OGMKeMnsnIp4tJOTBkE+BgS63Sf66tTPY+wlCI1eCskA89gqlpthaiuIHzt8QHTa0tqsBJ6DKIC3sFLjqvcOZ7j6n/6ihjj2mW/A3B5v+K2A93yTx7C/UaTXWpSVPPZeF/KpRh+lPEqZCjjbsLgfzJUnt3HdB8v5nf8Nj/A/sJMAxRcLxBDjoxVTBEb/X/AaWbEwT3nKSb2w2pi74WtCowRLDQ8B+7nQutkZu9XCzX5ZMDhb11O2g3xE1gLvNR5MYVB02Y0h4X9wmWOd/2/IwlT9WE80IgXJCe397Ad0zfFxIYJe1vOWUxm9k2JyEEL70SuKeMoUpQRaXgg7rI6b7Y7sK+QsRIk4Vu0poFM3P6HQ8B7xQvg6R/EhW13aNShujNq88fwQxLJGsXwM5AIdUpE7MqT1X1vvRUPEFc8lswFMnjTIn8AR9j0EZR47cmNsDZMtQ3gehlqZ6yiBIaL0+plHKPO0xJuB1F8zJOHOh9JWo3eAXQ5xMhxMGIt9exfMpww3TqL3XmzLj8npeBqJcsXc14UATtBYnW1+Ekm1iSTfBLI6THZe0gcgAHp42tIggrgq7Z4igrF/zxCM+4Fh5fGjqAP/IK4GgtDMKf0zDXhOtmgbTrHzhS+gBcxZLgsHWJOEDP9PTQ+NVRuF9bw8VbV0j6H4nuyJBwFqs6h9qC0+IXrjskrcRbyGC9gN5o44/bzh17f62XXBQeir6ruwoQC5d02hJumylFcxaW5MDxnT+AvsEzeGXDg7moS8DBY/8flPq6dM4i0A+wPwWlItDOBXGZzzOrSiIxKLpdcy4plpc9SDPtodOSfrOMzlpKw4FCsiodgypggskFWUiGLUOmPVf6W0xl/iOYE9M+Pl8yFIMf/jbNjTddoFjj68OSsxHt/kpOZEu1D/QoYkzj5m6i+QR+7TKqOnQtfGGC2Cj10GEHQWwiWaEHxeCE+Eyri5+T8k271TP4TOEMXWXQxGFxnubHU2bE2CRzFx5ZIq/c3iLe86Aw0sdoozHab31IrZFFhk52bWbd5/kxBgvRGRuDR5JMkjr2mDcR+kNP69j56Iai8S2zreOK9/tYKaUP890iD/SHd85gnM/mkZqQmnUWI4Sn6Kk1p2b0aaVrCr26VgxFHoLddsHuRy/dSQO30ThyOHK1yEd7gf5+d43doaBX/EDwpHHQYYzg8gEO9hm2fFAMyYoCKHFhuQIkTq8HAXVHmWzC0JBsw2aOPx4i2d+QWm3Ui5voEJkizPv6Dz2picIM2wiw3hTFhMGJWI8PCs53P+QFTZK21hNAnW4JC4hqaiZTlwfTENO5L+nZocK2aERO7hpENPhecHeZjHegi5ACZ2HTxLaHhGjt7OV/u2q1Ls7LJiHALuOuacySxWIdieSMXtoOI1hGJCbCfjNrEYH5WD3B6FcUzcE9ZX823pQWuEkxZ3c4Dli87QKIOnOKObUzcVkp8KGsnPi0oTahV20tffU5IWtz4uXPqhYdDk17g/s3TzixU6GglqoHUwtTmKHaOQLVZIBo2Vh/5XSZJGiDUONu/QaPSPqwtK3nAxmg5wA8f0pJQmP+/2V6aUJihfcwR/dB9On8DKoCDuh+2Kv/CpKwEO1I0adxiu/nYDUCUYyPxL5vaB9b3VgKccf0KjWwISfrITCfWSudVinmL2PsY+eFut0yhZ9XAmSz/ht0hIY066gRyL76zgg7/vqKwRWbX3Iupe9g8wE6nILd7c2rR/U69nGuf9iGoSSE584hMc7kZTAbfMqc6i7fbTWoMZio6/nevSguv9w356qMNFSvwpcfCRabLbRjJRtMnEjLnpyl1pNLvILHHTXLKjCTQANL0vO58MjTGiLmwvZR7EsBkHzHDXh5V5zlumX42nexnXGC70bPXYUCJ7ZoOYBtQRtyK2M4cENPYhM4AAS8G0OE12zruijzfflGJ2vaaPfezmZE5EC7njA47pTgW5dIzSn8e6COKPabRZWkOMZ9qtTg9M7VBCjgE2ocnIFeeqJha94KpN4Fyzx1aTSfA9iErAQyrmcjVPfDofRqSuOGs7msNTMw0724xbeJMI2RADYzUhGOPFUDkbJKwE7ztBPelaTRB+MZkYcQPfYXZoLs0FpE+yPICqFYJ5z7w/vyMxk1ilSagKal4Q2AWzaXfvVadcZpOt6DUXpkWykPouxTfqp1tt4FyQx8Ww7KOCjplcrEQiOpqDOdEyev0dhO1ZDQfIxig3XpmykT4fklP74ouMDzxzpZULM32rSZ+MVDO215uSWd/SiKU5v9UYyd0nSyfr1GlxJ7gJUr6C+1MPk9LVaqkgl+qUkwiZZQ6aV2wHuIA+A6qG36XTBiJCsirRaPK7yqBLLwSE7qJPHG2YqwxQOf7IAdcTr79VZK8/y2ongibozFidpIRy3oz0m4AOCOzO5vpfHpK05//9VuKiu0o1dzATJ8JwQryVqZoDXye6WdHq2IH/ElV44JxzCXwWgEmYJmDwnW9iffVgjQdTDia5nqaH/AJ3h+JDi5ahyu6/drqMApbNv1UF/u+P+gMuxy7M2lj/Mfx+iO6u9Uc7P4B7OSwm07sgxI5pcswLuSo1jh4+3+S0GDM8ykfb9qXZZU+dwyWomPraocal5OCEFlWQOGHoGNm+pOZ325Y2tnrjSbzqrY+132Iv5T4yk0HCDJ37A1mqr9qT/Z7ZbHlUDjtrsMQBZUGqNbnDAmzCsv8SVw46Mo/zW6TdNkxqYyuDCkwCrhaQtSvD+S8XpWrMCaG4YAJzQWmD51nPaQH1es/TXZiRAn2+nbisoPFpi4gdEZYopaogpy72ZPxN8E7eVs97YWK79rOp3QnBhYmRf9mkYZjFcx8/Ex4ktU7YzBCiT4P7Q8BHrBAEbDJs/sONHbcy8/ZkRs139/uh9SHNdB3Q3+v1biARUMkxeHheZpbiOh5E/S4KhfMPGWd30SPjw4lSBZKCVE4O56Im5M5Ko3cwBfKyity8Gfg+98E/64njBz/inr9JkpXccFKVmoOFleQsdMEG/IkliWJLsDBGCeunlZWCECZXZ2g2ArYNO+LuLsfoe3ePCt0uwJMGMqG1WcRw+MoPR7iOobq7q6D8e/bwDuzi4TV8RIkNDqQIt6sw/Vtf673ChNN4brnFr2gmqYROpZOsJ1+QoNM5+2DXhrvoJXK3NcS0hXCtW5RuRpxsXrkwc12BE6+/RCsGrJUUpKXXCAqniytmQxH6QLcYF3RqR8ujeUfoqYaeHs/haK+8CZyvXpJJg2W+64SgLcU62+iEah2aNEo3NIuJnQI5/+z49UT0ZljalKs55KU5OSWQ73UNUgLWNJ0plfHzMHPTCeg12+aR0txjIav6MxPv1uA9b/fId6WTo5FUtSxNZGvy7WXZAOq6WP10L0ySaqOWvak10JGa1VJXzlW30SWwFJ1rQ1kryhCr+C5unuygn0C2rItUcavAOIQXQbHx+uKgZ6X6mJ/r6HA0uJfYlOfSxaVMRw50RZbd5F213JqgDG4zRZcaeilW/gR7PtVVwTex+Z+iYffHcWIDtFWQB997JhibFilL/7IVDWejyLqv8zP617cIgBjVoaI9C7nEHF2kVLv0ANdTtOmQC+1yg+348Vk0nRFDAb6Suqn0xD5yfGlC9q2NU42//WLsHW3n8tKsmyiowEbMtHhIMWstES0vNOebvYCd8V6bXgrF4WlgymBJpediGGLde+TQF/xxusCqu9tfOin3S0mmEVT2iXSHElsx9brjLWaPvtrMq3JgdkdmtRAVjA/thDLpbGWpN5V+eCA/Iy6W3k+yTy2W00XNsRzJirPgSyQdqPVBFu9/QvTpEHqS52WwBMqG2IEBcOjlkw0bIE6VoQ1fcF7k1zSKuOlHJ+ITKMoX3L0ygHhMPMYuCRponZNwHzOioxfaCQZmV6ipR9+1pOIOksj9Atu2HOFbKZOT58wqZrVZ1K8iJrh3IzpBtU48tVe4T8VcOv9Hk1ZRIIetiJiMhxBgidYk32+016AhlVX3+t5c4cAx5huXe9FJii26Yry2iSF4Q3jIixgcB5JsKEcsfRzGfmrJ2fZyhZlcdgltgzOHNJy8D6nLFxxWTz6BbIYFRRBHzybktcjLWmFfcDzHBaXQNzeFN/+fqnRJls2QdSyWlp8ehtWmFPMIAthXtTl9UTPbN0ZpRbFjwyd1ktgyh0B7sdxz1DF2vHEBzkecE3tbNhj3wijpgrs5OTdm3sREHtH2ZG5DXlg6fdwjN9E//IGaVt/7FQ7bdyW+eF8GaqkVGqjwSNA5udZIng5tuqhJea6DtFcLqoRZCO3UxjzAgyvaTaPz8UICZ0QbvNZfPknmMOAUHeHk8ZF/M+zvxcWILG4DhAsEJfnrRWwkFEqlURe+PPJW5fdWA4RCKMtlbUxXw5SaNSApB7oQJU02+0Yy1qyUqH/59Y2zs9f/t77sVQJSoBed/SQ1amzRue41POITequ5E791UQuYqMhSpYcFyj6d3bc8xNDd9+VoBDSlXsCMAQwfX/51OW3PfcxB9u7MHFN/jbRPWQNAMRuwLEerraKsUTw6zL8QRiNkmQEilojeVBP0/JIws7sdECb931UJH5P4WeELNDxuqq5e5djurU3FV9xN1XzqB9YpDTru99sQNpe3w/xbclZton5cobX2RaDqKzQbUhQWM85K6m1a18UMSKwyfAP48vRO+kcPOZfoMJJKxQoDmaRSSZzFYklGlabcMpoIhtpYMJp7xsInrozuT8dH9ujVNzfDWmTF/H3m2e0Osm/CkPjR+CrhPLBe3kg04+RN/mjM6cSKD7TJCpw0ewi72iDfTE2EOJkGS1QErfaRCMiTaXkNDXBtvwEvRwhbWTKNE6K6RZGb375DCJiNrat2x9w1b5/eMSZsOcZe+DSq48C8tj/UgfPl7wlxGoiLFrmEE8lwWGMNkhVLKPVbP6P1bK3JzD1liBoRpc6Si9NFn8LEuSUa2ja94xNHpFa8T1Pb2TEvwrvOmnfZOpDsFDOUkNrYHOlFCTB0KuMo/k4VnE0EtmSASjT192d10YVyvbDddrIteH5ScT0U+7F12y8WzQ5uG4vM4g/ALRrrjcS0icRMQtDJExuea9uUZhfLpf2gk2VLg3SFiPlkP6i4fYOKDGSDfDnqI0HNx5npUSv+BjnQ4cxm14C+975HcgUOMcAmorjv0y/89vqzmZHjzNKayPE5pN9zEpVqVMVvaPfGjjIA/Aw3GCktAup/QATygkkVy9kvaha0Qanpb55dotR4IZ0lQsFqe7XF0T38VX81eeGtKSyjuzHwglSEHMi0Bzrgv8PdKMIZF+vFS1wBJRFb7Ev/7uK0DfK5vMbrKXZITKIG4tDrew0EHKwI/W5wu8yNrACGmxKrXGVjR4BZLl+hIZI2jrlBc+kJAgW5Dk06rbgnXw6mQAV9y1uSVUrkNs8TiHU0rHLXrpi3TNDf1R5eijJXxjhZe8PkoL6gcc8wv/WGOersVn0Vo+YmMclA7TIl3wkAwOaKLdK0uT8hHgP90wfki7dg705o1ImnTR048NDkucu79XtIUyazd1J4zkmXzlu8O6eenaFANJ0ms3E8RK/V4ymeqZoJ3/Ab5Fi529bwk1aBocKj818zYWJnAw6GcO2GSMCyLDqzl9efV2K3Abuh+nAXmlUiieyNAud2opoorAomjqM/wi7kqc0SSnySE5IYg1tit4N0X1XI1eEGvWJGzqWYLqog6DW395v3VP8OluB8D7wKxZrSHwprvgOALL0uD25fNceIjJgspzPttIfseH9xL/w4UrP0otCYji62W6gXkbe+m7Y8EOCV2LLsGOARHEByB2cQIQ30zQUhC3u6MBekAQbuPBrxXiJgmQjnglLO34zmpl+uHND5+r9jqZNjdOklfUyMjRduakfKce+FMj8CvsSt8lIWbb1CijoqcPxXGp6thrnZ7BZuvIyPjHK+G1s02u0xuh/jGsGLNVe4J8W+IOVb9LFHal3pbCOw0zd+8SzXGXQSWXOOBeoHioSuRkNtByetqMO1bcknExAa9A+hMmckW5zWQJP5nORceQO0mk0u6UgK+vshUQnUMQZEA8Ax4L6pleQgH+Xhc4yFVw3YFBaoGKQN7xl5xUKHK329EaZ+E+nW72HPp9mKu5C9wSaBI67GlrBVPe/Bfd79viqQhrBYp68qEreurofEDtiRR/99fB9gvWiwMO3oDEGeeeivWHdnJ0L7qc3YiIDZJDaepxrGwdpgWuSG3nOU9+YNDAYVBAJeMIgRDJuKfmJoKxrL8QJAQl/+wZQsfvbESM1NNTdCPHzaBNFZ2zfnji7zizLJPUC3xY0N6Mmz3UQ7UdwmVn4wupIVyRGNGyc5TGWEB5txM1XJF2XlnFDpr+DxF9oYa9RUPbyo1q832XO+NEjVaYBkxwoStroxvQWEvsxozGDoteXsCmGICAtjvakmNKdCH/d76NAyPc1SfxVV20Ulx32WrE1RjvLxQec6+B95S0nbnB1ituCvD6tEOpimNHp/EkyfvDU3fRH0pizkxRTSLROl5uUdaqRH+OyJ0E237Om+qMjaxr/z8vQyrcfFf2s65F4b0z3vVnj4A5q3//K5pNNc5S45j59RM14XDPgqjEN1+kVyVkkZ8nKHP5WFCfLKFDy5ZNm5/bGMrH9o7sw2hTBzBD+bOuLy/jjF62mh+N3K1WxhQdyw3rXdpcPvwG161uvOxqeIBwfLT09f67+SnQAUNDuSzSIak0C+k3MnwGyWCIu7dMjZvKWff8o46rNcdWfWRrAfuAjw3VeTRP7MEFo2FLajKY5oB5CZBy3PumEJwg7tRlpqb5U8E6La+cAfyTw4aaJ6b9Be7jcZHa+JvNTbL0ebYiXPSA0kGSD7CFvnnWNX+AnjRGDB3iI+WTAYtnc5TD/8PZ17/VvkOCfFzLh1cw+Urg4q+3WFd0FcXQLITUCl6S8P9zbLWfTobXx4aikvgMaQJejPGBTo38Cu8vNNM5y3kGcHTOFUZETwDXNqyzOMmj/6BRt+nOG0+8yaTVaQYMXpkoIMJRI02MldAiJ2RkbDTtr+j4JZohYIS7U88e+vcPAj9K+WEr00kwftQkd2e5Yq1V9aGElZKqQqkgyKFg0kmluxOZdv2ZwoJp5hvGzLNzX3fiyZE/J8/HrrLq/MBwSpcP1Co8pSi87sS5V/39t4ZULRD6i5jBesL1uI582zcjQwK1qxYr+MjUXqlMg3cOKxABVk3lfSvSkCHDO+n9PS7gpeahMjPJSsJHM4uDfIBnJXqV/UXpebZOPW2eSLz+haVNisLfscIU4ccPH4iUtF7wQVQMaPpCBSJK5uE5jKrqIHC7X9VMQBESk9veUjCXCOIkBK/Wwdw7n6Le6MxkPG4KjUeWcuBOmmy9Hn10BBLD9VdZXl2ivTgvxzsxzL857H/Gg/9KQpZAiyNROsqYdkUSD8SDhGD/Im/yUfWZB/04TVZ08LZVC7Wi9js271poWyzsmbEw4NfZCjKpwjSgfoNsh7lzZ89cOmBPmnXasiVL6iz8S5TqpCk5K5nPqrxboQF0AYVM0pgc/YJ9Rtew+2TYVUgkEWe2i792A98nTOtOzbMcH9+5KACD35ba8K6848FL18oQ4FtXeW7MCvdssBohNcSvqGyf/+jE95HxpuErtHrs7BAv8SbRp8v57OuvM5L1F0xRw9h0Qd2O4hmW3yV022+gu04FEwGeBGNMv3nXr4LfNK9pqjCran+vfifLpJpGmLRABu/yx4uA+BUyZ+T+0jDTGxX1VRgWyUhB4qfUAzX9ws/xLo2QnQ6TnfyHAWev3Jnfc6FLOLCwebEN/wbCy2HQKc0TMkN7z/cNxAutiFEvc4BPD2mav/W0wuV7hp+aLrVF6NJcX1LEJrElH/DKYUaHxMxKVfvxqa7SFvwHGlYovjVH0/Jl6SaNs6QO/9HPUwMjvpHI1N/i71r3PB05YawPFU3TzrJZHZ1kPhfOgg68cQ7NXr4ZQl8HDgkCR3f9sMKyA/9497NY8gf57NHGARDS4aQ96b3NP1KNJLYyRp3/uFbhK6+rqqw6Wl0oN0KBCKi7edvjUk1Bu3s0KXAtF8W4hz/gKQiZqyQskcRHMJ6Z5e4Lmg7uA+k3YE7UqA6kXwD+bu3kV0VAG95+XdfpZ6s2z76RPpIn5dXsuQ9UV3PSe2a5PCzZmPmD9RZ3DjP8Zx+e6Cx3doi771XwvNABZFOI/3G66Xui85Ggq51Qouidyy1URqNq+4iJ6CdM04hMgr3KGlK5u7lb1wDVCESuUEx2NuTc95GsAFs3DXda/RhTNM1qDXqxweT0bka7jmFjLrRpVBTHQHzoi/Q7Mi19EAx778OtoJuWmChPp8tevqK+M68xoPUBzEQUWwaYBrFQBSbURApbU1hncCv7V9zD+6ztfMmk0dT3u+jxyHVc5qCBjlAQJ5FQ5V0JO4J9tARMKDlkhooYKRSKvoG0yQQizcE52/AR0rD3VP6cMvtFB1tn5gdO1bV4WZGz+m8P5skDDD2aLkK6eQjoBOtSvBmw6WJ8rpcoLmlP02dgMr21l2R1jpATTEK3szsY1c3geS9To/r9FFQT0WKKzgU71lcIggfsj6uIJPKZ6C+v4kVDA9nMaavZ5xVK9vLw3p6h2Cdn0up4RX5YzR4wmp9pvxyDvU5sh8N2syWvozZdQuoGXUXud/rmzpsJF38b0WYnfa8kENAe6rmdpMyadSi1YG6fdXfTZ7zSBZZttb4EVnpP4zonG6h0bANVel6X6bYEwMlOIwitriFZrt8Yo0g9oz2poY878V+HgklwXbBxbrc1YH4Yt5SgGUNmRfTWPcacyI9ocsZb4Q3lbVRpULxFqF9DXH2iL/png5SopW3AnKy2rYa0rNcPTryK0bo8n13LYcWNo8BbCDsYad0FUOywEdhiJ7EaZNSajA5UgtY1HJe3lp1ZgK48i5s7oa+lEgukRVDZY72kA57sEvWKvUovRGfYuJKveUiMDOvRRvDTcPGozcWKUCrUvvByAQ8qFRs9nsTfd1RzxXv9r+6FC78+E4Yz4/jimFsvu+V9NzqMsPK1P6q2CT9JqntYAbJfL+qdwG5F502N8IsVqyo6xOdErNFgdvJTLlxK9RwOeTGXQOGRB2ETuEiSDfeT8NKBldr9lX34pUMYo89MJhpyYuzKmxWVkn5SjkNE3S0+wktpfjfBD016sylBieXp3Nb318c0d+iNBI+Dqow0eLNfpfKYxqlypf22P8DoMHGQM8TjoBWc5SaH7YiYvN4wsK33Kgju0Ncv/9pi+okJ4fZmCezPCgyUUmBgQBD/SPvzGivsvnBJ86zQmUg1OE1tJWwc+SlVePF2CJ4hInPdQouE+vHeNaQpflsitVHYe88dAWFp+Gcn9Am2RFVhtVQIiIxoSwDvilh4uBkBf0FgXWljyGST5xo66x+bkvyH5WY5lfRbE4jf8ftUXv8J1HcACwZ7M5DvmO8ucRf3UIS1hqUYV2vMUIq/DHyzBZcqGYwMK4yVeq52iIdtC745cqtKHAU3ohzChPeuvrEVZCilhzBYY1Qt16izZag3o0/hnZG8soQmjYi9o5aa6ZceCEGd01h+SrqcrF/JcP57rowf4OOGxi5A/krcLOPnQKQex7EYJ8madQ9uKoprXjaEkcbuF1s1AwaSGUgfYlWwt5U5btPo/poxuxOvZAOf8ia7lJmsPgqxoTuLvYlZi81B91C3btwhRhYdITUL9qOxr+bjrNvnTsAtUyOYLkzU+mQ7j8IUmWnC7TCaQCBiCCMzhCau6I2Po6hcswkkJP50TBIxzWGvCCVDXyCBV/8vrt36LYg5kRkTOrrmOf/VTJ9TsQNXVFCOVKK5TTcc9chcSOMcc8unZdpX5rkM+CLnMe0wbUUVhNAyi6Sdl/k8EWV5Mdazx+g6z3jYF5LQes0L7jKsWohaENa03gOQ1Pas3Jqvu3EN+dg6Ywb8r3fB8PksYPf+I65bDF3vOBVHHsF2abbU6oQgw0Jxwco/jH9PJBi75R07dJ1YhdiIVhdnq8llEQHZDahdd+nt6MwMWTeuTGd7FEugdwku9aL/Rqtg7JLltCUEZYH8AACE9DWOH0lZk3t838U6HJVRo/MFSAE9I3hsFyoFFSTlGdoX7kH2pzIQ/UAqNBc2QRtvc/G/7bCBbc1SdTB0PKxwDiOaMoa/FIz6gILsHCD8e5vcbITdQSAnN25DPmY8C4JN2qzl4JaXEJaUuwcJ6Q+cgssQikBFS4ONQlJqIPYqwLQPGlKcrxRnO/ZKWb8M4GF3UtmVvevEM8+tkUM3wecxL9tnLuXA0tVEo9OeFt/dSa3G5uuVYL9fqCpJLaAhC/PGS7GkiwTa+EiCcuhxPLHYpFQQx8GTqEpGHIeBobVl7a8aAN1kmS1OXCzoh6zBgmjliH9AsdzAm6i9Q/WT/gTjwgPLI4vQCKc+lHdCCyXESD/XvGQweb6hye+F4z95UD0vyss17W1FQdvgx0jBvFtC5eJDHJtfuP10dcvkovuQKlckYEfDRqBn5iYRlINfowKn/B8gtKKFu89769PdibDuYz4qG4Mwyzm2hMmL7lzQugJFcMKi8nF4tubv0IQu4ZHp9OfSESKsG8i8TwsaxfzIXL/jdoRL5P3TS19pxD5ecaF2SeR9wmvavXNV3anTHOifmo8wQzmpFzS1s31whi3HSLjhaaZ0rlgADaXNzwaGROFOtiw1UQ3fJ4APymrzeds4vYopz4tnsXxoGUYivQ3FmPEkak5CD6/FBiFSv8Hs8PRU/IWbo5eH6JiDtLwSnLKWQBTVeFsz1tGE+xBUMjdL2dfSy0C1nZxpuJ113ilpUn7UAeSveDFPO0M9LAQiowwic6dyWhzsLgFKLPyWrCgtW9DXwpVMq3X47PasmYgs0xWHkAjEQvtU5WCxLlJa0eU/SOOhYeaFtL+NEFtRo/2/Er0Zx6MkzBtavDNp477iWQyX+ZHc8w6p58AaOOxKnqOV8U8Wm2pxIrCWghI9PGmwHc5rjqDAEAe0GUDGoJLfP2+M6bNIzWJ8dwYYXcicncFUTpU+fyCdJRwv6FJES/hfcYQfWW4S6WvOso4qLoARZ1qCmUb39oplFg5yBlRVncZi/+Ari5hDAp4NuwwqlljiDSk1gkD76YffoGdOt70XAWM+gGyrY3/0nCQ3VW7PSxHR7q+8VXMyLp2pO7XFaSyU+kr28pBIN2sv4KGKwrrIFq0Y92li8jV2MorCHz5RfLEzmFVLPKHcUj+f7feRZ55lTA9Kq+r6x+75jmLVUZvdJPzfhqHBK0G3cqi0kBkJAM/4jriSQIgqHRV+75G3syJxm8MIlE1EwacS0rC28CrNzhyXG1k2PMEmTxgMT63jD8k5rbJNtJzOeXANKg8kat2jXZrfpVYUuW8O91PcDWkdPz2ZOggOGo/fJQ69z9t3gs62mPti8cb/0J5AHwghDAQqskd3XMKQ9RMjLpNDqaateSSXeirI9HPtWMbCuostqnkQlVsUyBamPn92l7Tts4B+9hOLFZvynB3seJi867PsxHC+XwrPzLOhFIBl3ao2+HQ8BYHpt6hX3EbyJAYbdxmx682OJBL6B4YVNHu5Xzb2Ne40zlIhpJlX24/+u5knCJitybrrDVSSkxI5v71M6wjUU8ytcvXBbL6V6hYVhl9dkJr7O7tb64VfJOjWy9RaD0l5DC3iT/S9o/o9YCUW5IC2gF8XTn8a0yqq/md5Bdqy9e1I9otEXZ6K/CyJ1AkHOsHVkoxgnGb3A9RZ9C+XHIOymMUsnMyfAOjMd1Bp+0XT134cR6V/+1JIl2QbS87YokvuWHW72/xXRQ7K12+tbOeTeZz7zv2oZG8URWmXqgmqSdWT0jOpEHh9fZcfkdmU9KJI/c0wRMeU5dO6+2hk5CWA8K27jSxDCujkW/6jUvEOp8pSjEFYEDDnB5QNo2rXN7qw/jF/PBmEhkMcWiGc0coN0VdzgzlL++q/BhJCwOobb+q8uHQkBFNkZ2PiCqozzXvl9N8LDgGYJE14Gl8gK3Q7MiPiM45tXwq2Ikzz9pIopmTl0Fn9O7C13KP8Lr9FVniwMEU2Nm/00Gqx3JgKF+TObKqLNfN2YtqqM9mtuLOTr59nPSAxMH/6Qe65mrw6V5PDAiu+QMLOh4yBy3w+EHOsQ/081BwQD7Z1pzrO6v/2SMJiCA+9gWdJjWo47pKpH8s7+SPd2q9XE5b7o2ChvVFW/m5umzRQ2WBIFuWNwpSLQ8yc3EFNYLxF34ft0CjnQI6KNBjrVGCpO8zlmIGGK3XIJhMuZHl5LxLP41ovNr21rcCD7fxRiF/sHJ3BGjAmKtMjZzLzd/06oXKHo2zp5qrVuiy7ZySznp9i7KGItTVvWJsUhWsqjtX091qyrNuwPmKgLX4JN5sE6u41/IxqwpHgjDkky18iD2ek1j2kpLMsLeBUPpr324yV4k53HO/EGwI86PyOxESUPBX9fYBUnZH3zpYeNNBRzAcMk2TVUph/9SmIA1/DkogNJMNt46TqCMMlH6Z06oI1dCtL+T517D+XrjbTTl53CEtQbpXz8+En71nzO7Qa4DTTsNrxcL7bs/LSUFhUHJFWydA+c0dRV33JZyncl11vZwbFvqzPmm3HSIipEIigHaOPHFHnMXqlhJmB+EzkGIOnVrh0QkdzxWMgYAUwUKz6k8xFR1ptsbENREAi839gzOlDB/cDT39FI/WesVHOBvz02C/vRSqBrH29wL3OA6k6JeoZc2GahMectU9W1GPGK66BssfZjQyQfBKggJXYlVpo+5b2ZWT2rtG5jZ/q9UFhy6QiY93SD2Ud17MUw86QelsoFJvg5GpaX1OhPikN3w/N7FjK1zKc1rdf2jGAfhjQZ8jYtO6GQEsTw79o7F0Zw8Vdf3dfEKNMOT0EpHxSWtrP04xn5y3CS7h5xYq7TaoWRvwXRcmLWg+n4JN8+RG02quFi+9LJgFnPLCIcTw19bIyE855wkmPL1NBiUI+kLZBThLcJa+QnPDlSwQ6XZEIohhkuQ+qMx/w2BvjW9be7Wgw+fi8z1qpB2+pVwXFg4uXmo0WuLk30/Zfjo5VDu4N+dSbxGhFFpt7mKAfqBjEioQTBBKwVmQ3eeZi1qvfiPrjfpCC9ybyUrivkYwPzCwLTT8ZtS5XGlZEcoxIj1x4AJUSrNvv2v/4z6QxN75jwHCmJ/wmMEobMxxvU7xU3hZkdvNCRYfKLP4EAE73Rlb1Iw/3MPDpulHiy9k6JGsO73/kQK9YRm6nHQJnWbfvK6pKyIsbk9s97gSexonSmD/2Tpaj/qpN9+qyWdy6S/NdxcGRUrmlOflDCKrX0RVTi+vL1wmODg5ZYXdMn9Ee9AlvPwhmyVEmI6E3y2Ex3D68dHcBdMObXJoIKw0EcoNkP+GCgvDKGqT5rRXNqfz3i5FMuYT8ERn7r9TGwoBUxW9ikMZ/FsxmUHyZKNad2QLstsky7d+5tB3ZZ18zrqR22IDADZxnYAH8HInduxoAlI399GiHEQqsnVZ89d/+2/WXZJKLRASIlCn80TCR5+QwzA9CDacPnm6BbubnsNWAmY0+CkRdUp8JL7W1vGHCo0icC6QCX6nIBf48epcjX+t12v13/TNk9ObVLLGAV9lDpyL+btb3L8m+TWC2bzzWtalTyRtTOkdQHevArqUF/4T0Qb10GzN2LwHDn/A7AGKIVWicZGzL1+GOQKzyJMg+DjdzsEJAInr5UjBU2Hv67x+Aa6AH3i4Im9yuIvmcIqbNfUXHqCul4tpYCOuZBVcIRxbfoL9RoMcsqWg7B/dBwKkBwW4tTzPctBfFVsxC0/hpko9BcQ/9HHEypoV0WhgF/PJUo45YgmKuC98a1L+2vnFZeuOIUCBTXjW+VARqbV/fyOkXsWvHYc8b4Q9eAusFWBGrif06ve4ZM1Yh8/LCPjZ2hTtVLm4hpe/ZTKMEvDhrb9oUr+y7MH4e+3LGVXXgADyifGeiu96K4DOieWR5CZn6sV4nRm5sTIK0MY3Sh3FjLxzkLydjN8zrWKW6h9GQa8j8pd3Tbv6izUTYGXIDODqMtHVQQsY56lunztI/AW5LoGHYYQ400Y+ECarHp5vtus/WKCriAH8mVGaB4nTOtGk72BkqRj31MvzfdRj2E0gFCjj2SyMVboZ47GCrvdXo5Ci7SmIy9pJ+eXRKimGb/7DU47ZXlgtwjbLgujfnrR4kRHz8mZl3ki4iGYmLzfZxzZALxIdaZOWnDYSaqzAbELGXGQ9If6CHXatzi0ZgmfQV4l6/yXVaPLp9iduCUg32yzbA2oXqrvkVgdknYGRlzW1YamLIivUQJ5UPrL9wsGk4lG6D3CvCS+2fHFwrxZMSmXd4klmyxlJ/dcHdnCVboiiTJIIUcmdBPLGH7wHsO6R1u0mr9UzrQFwuu1ch7Lw+ZCE3H/BZY4G4cpRle40CB7882gKRPy9HNWcRCREkDcgwGY1lACZ80dr15rL+Q3X6ziiRxLSyUMjGZ2yetDYYZjvbeCGDN57OkemazeuT3oEDNiBrPxXmmu/14gKltoE4VJRpzC+XCPeGFoxk5UVR4aMZhzTgZMbXMlQfaFSfuC+ICQg8GM9mo7L5XImawx5gcxXrTaFJ/UBmNHS+AOvaoQjgR5VXLksl9Sely/iorEs0qIzKQ0Fz8rOVjq9JCacNxM++mmx5XFCzH/gWAHu6fZKTwZMF66T+HlNli7DmCv/78j5m20RHkj6QXlKBjsyF9BBT8++ugMVWQX9xHi07GBdKPDYlssguP0GsNaR9SHQihwWcmh3E73v66wBEd0sGp0IU7EL8l5TGqyRsu1VcmOAxUlsLXiT1pR43NCqc7IeN9nmEYS4nsT5BIGTCQr2Bw5z3LNcMGQJMHMn4azSypk9sMd0ez5xhqCjWNZJqn5U/ZzPa9/jP7+xVeRY+h4W8ueUhvd7+oBVkbonilrp3qvzorTwone+WS5cAJ9kcdoWhgAaj01+i+qCv65c9++x4zdSxmZcrv5s9iz5Lq3p4gFy2V3qnKJ3c53tn56szvITE0FQ2HYzwlZZviOFvHz6mb0W3O3bs88iboCRAy1D3hiZx1UKg91V2zXRDrW2zzFPGuome1T2bS+ccWbqUCYcbUnALwAjIh16IVdT+FuM56UtFmx5pk1d2RRYM+VpUnGUqmIllcNno+5gNjE/WcVTTCZZeMoSzvlRKrzPp5gKXoT/rM352vJ7Jqh9k2xqU+4E5jevYJPm8wVHVTA4lXN6A3gqSsT+BbRvkZ9uXGFJUjNuF9Bi5q9CFpX78Cyn5mCWpedxlFP411nQM65QOzSXIyahsyYrpdavjWO82GR26T7vbAxsgffedRvDG93+RAZ28fvB+1LtderDFNCuUM4Kp7bxGTsCjb9nfO5Ba3SGpII9o10EaHhUlir8uaGytwrSLUuofZBqsXnA3rXBEhhLUYFQZtvqprN/Fci8E9iNGtesMs9bLnzF1wVO/Ooj9FjK94+Lbh9HJI86xFUx7VIAR4g0UcKk5wdBKgdtMlxaaErVWVS9Na0iqo878sj858gaSgiybCr3rueP5SZimkdNG6nmbjFbnit4ULg6IuGNo2Kls9TxeWyONd5+6Jz91IQAIQhUWlI+uzI3JfOAY6iYD2qgYT+cKZoaLqIu+WKx9zKfyVeuTXdHiNyKceo6oj8hNVVzPpPMksOQ83vCucOBbNHozfhHXvV/0av6wnR59vU5lsM0UYgy7mWzsBnH6rMbhFbf5sHLGVwRFNrWPnbtFg8kpsaXn+I0Uj2y2695LdsT2IvmpDhssrV70wROoQTkON/36qeKqLKBbDqoimAHRa1Isv26qp10Ff0NNtRpxiLA3ckmwWDNhKcwxMPya+56GEmZgUr5PmmKIDWa0Bzz5TXxtVtmTkoZ4iSTJhnAyj8DFxsf3p6hm/eoIWY/eNti/DoJI62K+8v3Z16MrGFV1910Stufjav/IeGjR3zQ8MTbeHTFEyEQfCh1AEmhIzEXrWph2SGHA8fOEJcfvVbGN9C4C92SKGJE6DFwkpUl5AZdErERlhudrPjASPTon1sa+OhwxO0kz9OiIZNGoKkPr+0cuCM9tUBW97d7IqIZkWEEuioVggJ+IbHkiB0gClcDT6UYE28fAaDLnhPfYsWwIjMSessdLNiOswILT5skmYkrPlhVYi/80M/EXMNT8T9jE+QMWWLnf+eudzL+13L/7dQoA2W3V/d13BWL+RB4LF643QP+pvw9UGbIodrjOJ+wie94ZPBdOaH0N4EWVyIIsdGZfC4T/CAAL52aUrDMdv5qwjEW7Uc90UwdOkWHKGSWASILU2WNG7BBBCWUT7fKP6SOAv0sevUOCDP+dRx17KXvjJNnEPt+JtBVRZV7qZAKytJ/aKBOLaj08QBAMvrfCT31TKewytEobAYtvqjnfVn67p27jOc2BKF0+IoIzFkGm3r5SixClOztS/DzxIc/aWM8xoP8gGMiBPNgboghBHUYZU18L1qAhQvWk1Jk3RRbLRBGeuVh92U/56W3XYRYE0K1JdozKfNb+gnUoAvvP+RQYgOQWPwITODCgAM1X9JGM5HMwoj16i42T0Qx0ghdnpSLgwgyWcXHwJGHTqYOcLXQWHtcblG94ntupojI6tM76aSaFrMOcToGLe3D6rCDWCJgGqQiZ8OcJyNe3fUmEu71Zv8+MSQuu6RP24kRWKiZCzH96OxoK4VYsM8atk6gFyoJmWpDv0dvGCR77RX/75NZsFpvSKs3uPw4qVnKVDR5o+Hnifkr3mcTVeXUXNDm9Db8mnXa6/fe1ovqiXjF2vBshPlNAH2HfQi46FLIHPV2dtyLjXLYSaHV1V4T95C621R9osJ5Gat/o1/Eg/7L96GLIfoc430i1J+GgdBhz4okfyHLqyOAtBnyQtU6mMOk4k28lGOpClcmuuoro6VYu8SuCmuf7VoQSEj4kGnv39ddnj1adUCP4lkmEh4oTMLYaMx62n/gUnxYvZiIE8P1tgQiwkNo0mrSLYYwMAF2DFye+ZDZXUY7qwL5xkltvUQY4tDlGxLMD44fOd5b9SaVINo9947T7D8B3RidEdn7iqlQ6EJBr8/yd4XMSVhQ4ssVAmQnJ1ufVAvQ4FpleOQ4QILeVYs30X8YWHnuiOrnlj8mECxRiSyDzgZIVZchHycSBsTow0F1BSC727WRVDNGCn2PFbfyhCDVSw2TBkXqyXMQWRhglqBcnpv1aP2j49aEg3ntdFtyovBUhsbRrOkXmu8U+SLaFL1plXC9r2GJsGuDzyK2ko9gBV5TQRDtI744UPykgCsUxu4zakP9c1a1PWsiWqWizoaWdaQidQi7rW4aRruhDrA70T4ZvCA3xrlBGvO46GZbbJhpZa22kqeHRtwcluNrZmOX8w/9z0Ly/wBvR6XqQQanpXp1Zj0nwZjvqwU1Ah72ugUKCCmCoREMebWIiOANTO8xAYGMeldazrC5GbkIV18gFugvR5KIuqnfAxy6jWzeFXigwER0QF34wGbiiZ49vl1MH5BxaX/PBpZuQlUHHgdgOoy8wenwzTuQe6u2AlaosQ9JHpWd5Os4+7TxaTSEqoInfEqYrrp/r5nMOdh3CVrkaWHO5TFjGstQVuTBP5ED7JfmQhJIumOBHQLNatenXUFnRzKJwN9z8LAAtqE7brWLq5TfSbjY1mjmMooEcFg8ZeygC3PaV8Ksip1GsSPUnYi65LsOXlHnRoJfh9QqIucISwwNGqSi7yViC+poa5q9zn7Lv8vQfPzoDEtYcIXGkGGrMENldj7SrnwIUSYJ8X5pw9SrcizhfNpBhSKfOPnDjKCBqtV/MwwuD/ApiMYSzizDFiHl5pwe1a+6V84/zcEiUfM5tNpriD7v8000OaUQAtpSpz5zlpFlkuEhzJjUeHaGgXA3/ayXfLURW1pZVVIb2PVjlN+0+OKZYC6+ylEAfml70HfVt7iqt0LyB7Tgl+06gH2whnUIrVK74LK+ZFUl6QhCJLZnLyVugzb5vlZ3OcO/++XtwMvs+/RosloeZcJcYqNRqfDszYtJv08TcGRAV2ZEcMUuMJeswNav/iieTsaVMoiXEtRTBhVRD0HGtPoRI+uPECQO3z8BulR/E1w2iojvanRo2JrwvwTODp3ruUClYEBcYhS37CdiCgYh2uEdD0xVebD3/0DTDdDx1swY+xnWKnDVJYRD8+rMmR/WBK4/yaGvPEE+mbM0KrVECbBPlp+JUYgV4yjrpwgNtemo6RWnLJTSqZX0x7MY4QAa/+IDbOIKYLXPfEl1BzUM/uyT62wb6MLAM+s7WDD6r2vn/kPnp1ieAnaf8LE16AVyMVfvjCp0tNrEOnQNP6frddtJU1i9wvxRFPrJsH58JflnfE3+5ROWdXOMwCFVq3EZydRS4ZXXjIs+Emd3Gm2fsP20VLqSnhRZXlTf5wh7Q0JmXfAHn+wF6s//jeLzjlXEtOQdUz9DLVkGtaoAPyKXNo58GJpODoSGkVGthSoESTRC8D0p7YKiAGTJwp1pY8MUS89nQgapstXX0Iz9I/ZazfhtmsxgGryrXmE+U+yXu6Q2aMlSZkRPCgBvElXgdBomgNcIXhvSHqwSlskTl0tgum5JblhX2hYfl6oE3TF8v0Xo9gge3E7g9pBsuzibEaqO8y/F1AmKwO0OWHCAIXpPTgmYUW5uHDANZqsq9HiqQSRelSdrcf75jZq6N/mwLPqKDhUcvX4CdRUw+Q6ddC4di0gDLd24gDZBgEHZrEFY8oiLpeIamU8tq4nYUqAhL0/mFhMUxdh8z1D7EGLwYv60PymARyY1H12pWTIrmdneRLfDkKgF+K6BmYz2m54Hm30nQvMBjsghfcAO+s9JQJnhYJ1LUzUrJyKkNBgdiz3PfhRP+Qc4DIK9IwXXne+NXpbS9pKVjXOFzQu2dzKBgY9YHFIQxZqecamnsm4g0HjpK38RFBr6orulxPlhi11V0oiHFDMlxkxUHXjw+Q4xexDSVu6YA0qjpS8GoY4q5rX6vlfvJW58LQEM6gNaK6sOLgIbAqus327uwROGgedMnyMYw5RfLa2z9ixK3fZvj/4NMjxN5kyHGwt6oT6o15o8JdF4u5zDufh2sNoMbcGmBs9S5RTHrSGo4jX7Oq6yoNeuBXWmJaQQ1a7ydw0qOAZEevgYlHtdr6HBK2Ss46PUiVlFlMRFuW4r5iVtMZ2W45aLC6YTXScFbq8c+8wa4Dj0SBsrykcYadcB31lta7+op5jcougtugxQGYxPezKZ3C6akSDq5nq3Y7vi0b9MliUqQImcwizWgBAm/GUDCz3BaFLFpUnAITry8pgVUt/QYM+FbQ7yaKa8+KotHy30Q4OTkyUN/ik14hfhaa/tL9vnm/DbkPJjEuTCll0NGdoKENAhmZJuxP3QqqeWtolBMtVs8m4TTXyesWPmIK2zPdhcCYqUYCQb23CgAdBXabJKEdMBW3rnHDa6rlsZE298rOzkH+ZrekMLwQ7l/N0gUoJDOZCF+CytWvryhi50NMtSdl1cnqXroP8siPDS5Pfv4p6lw53vxM8sheUx6yHvE9aSuzXt2kkuZOfrEdYOSZNpnywEaWHhq+U1ExMXlHz4QVGnoT5d1JgBQAlArC/rjIKpyfe1Md6mL2K781BvkbCcyHn+cAdNb/JJcy9DX0OQ8KfCr6fccaIwBmHOwlP/UNmDnbk57LXK5ZelMCuEtkM/8Tl7yjMuHva9QaNVTxv2C9J6L2H/dNu3l70WwLD6n1QAnM6WblA6Cny5bgq/WDkKh8zcc5illQgTB8Cm2ChMMWLRXyvuLJgaVgJC2BVkrANL06YBQEP+XNTFKP4CWXebeaZMVt7M2wLLouA7N+qCXaRLI/NWHfS1thzxtKiOsw3hDh0u02VtkO1RnmF2LJpuLCT/ToGhzSrdCs8AF3S0OyTTbVzEBYPzBSi/qiYnJbR7Gi/C8ZYV7+3s6hw9YRI6kz4JHPWvzn2OvRfXvqW2ojG76KoQPiEchASTBaRgbMsR8lcQ6fTL06ZIomgbg/lic7NR5rxHowJBWFE9fU0l11ZkX/ALHEeL+xckQLco+XWQxNJMaRioEg9Upye89YJ+63u+RtlGvN13d4KCrj3gqn4TPB/HcbSodnsF2eE5WVXseOTkJe0jcUlxI4FxTsvc9EJQwnVvYEOYVlnoBq85xrq6rk4xVVH8Je6QGlq/990iLjArmbw/g3SawUfrtWII1PvC+xaevs3YI0LZFclmEXbnXyWQz45zwmWuQHDSM1V85Ho8wv6EDpDFEF7kgITy0pp23RzoO4pbPccWek/AOWBhA6039uoKTpJmLVDjuvxFZi7usE0lZFSt+hsHDOZ0DMOp4VV74j5iIJX3ydg22loZHdzs6CM+sNg1PWBtkIwB+mhNvV+4fFE862mvJuTQkUrrJg/IbF7XLwW1mtAlcr9EKrLa6d6TFWY2uChJ7u/mpynBQhSvVbozp5cw+WgVWwmjVa6k0lnx5Qbvn4W1rgMtpG2mLjJQ/cTwGrX8C54I1ZbuKh/4oOpoIc3tEyiCLScNBOpZ9q8nOoKK/8sj9sgCWs3JIZ7+WAWP72huYL6W4WWVrDUM3OYUgoEN3YIaJEbXTQoKVEAhhy29ZHE9K50GddQKKzAMZ8laYdR5f1aNzSNBmXewUEkFxp+aOTU/caF0Yh/gb3bzmU9fc2CeGCfQZ+u+Qt4WongpxR45GpomIoTlTSe/1i4LinNCTTJ6RFdj622QbLqXhju0CB6jBzzOVvB1A5QyNgbVcHm7BdLYL4WSaOCsG96jkJKpvgF49GVaYLkopGzkkD8O1qmwh+2gDGwbYhp4KRmzgcvHYa+0XclNLA1luySkF4nb2pafIOJxwZMeQYxsKygSFPWmADfxKv3k1UGpJLDGeBS89cxw0pacujIucOCaTOz7JvDJ5hit8oAwzn/mCH7JcXmS89UDoh0V4qt/2NIrx+psopiXnw4HNsjRGAwxYvnEbfBciXh9pN9aGh/S2xU5wMrdMafEczjCLKKPmYaOZvHpZovVjaZYTUX4hKvzh+iA3DxFtBU6gr87eJH1A3kmo7N0Gn0f9gTmi31VPHmqwiKxPpfpZuzXWcRU3Q2Wyz1X/0fsnd8eJNMgDg2hRNqgr+ylWFz9YiktfTC3Qr5Gz0DfAPewyo2b3GBDwHSi8Is9E7NQPNJpHYnUniS1F0xybx91BRbNEPsvB2aR/UnjziwLkk/WU3bMSN3qwGkxJJ/XV5HwxQGa+cUvf7y1N2pUTyrJxOT9KlrXKmvssFtlMfpfbJAcuWzexHBoE+6QXju9HGVbuD6qpXag/N3r5p5XzW91oqxrN53sQ4T7k3+eRYqauW0rNyKAKtP6Qls8AVVEIC4ZdcXcrznV7jeBvfAydptZkNPSiFux/UizfVwkqDTuoGEziGtCNNSvkOGaAayFRvaTDlI6J6wc6u9AC+yyiXvnZxv7h+C8Ruh8lQuqx5HaULsVgV7NbN91eKAF+yabeEzZTcWSzNKpgsQjljAbPzDbu7nIdxU2HDKUW4tCwWt3ak78GdlaukvhcEBxezRP4RR9FimzqsU0J8kr3hwWb4c4ZT7oQzDIiu+Ngsu7eGvJqWPUbw+CGslNm3+1wCl2ar8dsi7ywtZrLmM6aU2rLjd33iVRtebizg4RMsearT92Cd5Nv0MU7NXO9wSSmgG7yleg1o+tQe+JSzU0MJujP3AiMfmSy7daqNbNVW2CO6eptwuFlIcqEEu5It/NYprKOdT+Iyu5FttpKzvHdjY79tjWPjRowXft1QEwdfIqjg/eIH0en5L7ViUsMBT7vZk4SX/rhW3Zt2I+YtWFUhz5MBHwV+orrv3bNsRjdCiCi+cottDpHHlxC5XzTfY3Rzw/RTYiFejA4RHe7xwIHDsZWlU2hSsXg2IY3kSv/kU+3hwbzpKvRgVpFEZ9OKGJedjd+y4X74q9FsuVOLeWwylTOEkwmLxVB4esBYw6T1UCmnZiOtagqRJE5MvrIhPQcFYjDG8bUAnNI3Bh00Ds+AhIBo7pl7U3EbPfNnLLoBgjR1/spcqH5szAK7VYqw3jG2uVOAEgS/GHgEfzXjuVDYTZu4DUDCgtVueEYom957Fzr2o48FBpBSvYfV2mHiWoGEHrJrlEfvIb61UvYyUP2ZETxnUl9QlyauMk3CS3oeecBdfWg0DqZVKw6UrVouCjPctzRBrjf9zE8FpkUay+4AJhpJ8mhdFpDkSJQ5YeceEDwWVsf+7aGmvYIH87aiu/PowbUbpR5srtyHQ/sY58sOOcZZcCuROgcpc2PZcOKbbSL4IP2rd/V40sKg5xJpNPX6ieAd5npFWjkTVsJfN4GST2Yx4H+ivgYvRGz6hRCnCnkOyMLvFHS0R4/G5AHrIjxiV1VLg71ND2rwDRgLM6881Ol+9xng5iIR7+J5fVFmLdlNrBh+zz7I9eua1zxEKw1xqmRGCOHNOpHE6phIETD2nZzqmLO5+oHR4i4MRg0+8VGhQNJP/zeEOEXuDlif6hhlNfnzvBScPQE6bFwN2xeC3kUJ6nBXHpJoKLwbb09L+NKzo8HDDBeHuNh2bh1tm+vWyWbgwOZ0dTSB0xNBNtSF6xVEW8Vq8PrjVk2QaSq6/XbJB8khAtmp5yVQdIv4/yi504C3/dBStAb8G5wJLQWJSo2E9kdzPqvbtsQ3pe4jQ86lbjFMWEZvvbd0MpFCrjibWXmObAx3rSvWaWJ3H6wOmbfRYvjr07w4MlYroiIrecvdQEX2QhZXym5Nba05ZNW/DLlW3KqMO9QoxwpW0J814H+KGR0FUGkzlaMy6hdzGSDscmwkPd2WaKHC5VPN8qhKx1zCeUc5tdorUdQumR+pPW3vk89wYBrIYjv8EmdtknrijAIBc7AusuBnTpErRLs2j+BUHvxbK+7jRY+Wp4vzJLvzv4oL0Zs54MV37LXpsYyHLbYwFxVfi6+MJTjoaX4aWlk5qAtd7MYX45d17Ap0pPaxkHKHe2ZxugniSaP3RZJOdLTPBRLCQ2HWDDmVXiALDYVl73Y+6nbmHnLhpPutxVWXvhc7WoTKqDdX8vmEO4M94NloFrgoEQkhOTfOCz7U4W4yewCfV2Hkn7Dvq20HpmvF0cloPY9wbXyse93Py5F3bBv8DF4tvU8Iw2yVYCq/eJBWw01vxeZMRN7ZYBReC7y2dEVg+DhP6NnvzQynE7q3gZIJW48pahpFdU89mb3NOVmV69mA0Pj9kzNSNhuIEBsPy5z+EH7qHPEsR2bOhzyw6asOMtYZuR3XDEYnOpxmLbsQJr1GDLF/Lscp0tFigPG6iDuD1TKMpY594OOBaNjBVGmwx9GElnGGx7T+9IDpC7v9dKSWPHDNDfBoqmvdblbX/KFKF/PTxraYR1jZrMLY0AXp35nJb9vbuMdW7DaFJo7xcqZ0CTFmopQrGnBoogBDS7xZ4xuRIV5u/WSsbDujRJYh1XTLS3/gmxBt/ITNVbuetOPruzIjTVLy8zTVGww694XLEtuemIbi0y0QnrZrkJLbMKvdVt9N+Gy03caiChoaOyS98A9LByDoaa8g1CZyEQ67ugyEZp7gi/WtHDw/k+cHNyQlQg8AuqnnyIrfg0OE8NRerGep6pvjWTSDf6UMG7JK3ypwc9b6D+bI+IqstNC/CJtILE6WAvh3E7Lxw79rryjjlahUwNysYg3NQZ3twG9JJTIAuQgnztE3ajFv/yE+tO+m3hWNrMETR0tqDVTVQdcagdfLJJwrAxFbu6X5aQLnHzarruhRNo2HRm99AO3zEkLyFzbVqKOhm48Q+1O0rFoA4ApuFAr7l+MyY/hq7rX7JWtSqw7y1gn6HAtOzbR+iwFQSCgafdvCOyoa9j5r2LEejgDrG3BjV6f1AGUfwTnclI7EuSYRXTO5CXHdi0Rl9mKVcztLTscu6aZpaFJSL6CzptUxgpOk157AJ9mrjIX7MWs2fCbWh7E2U7iI3P9cjitKZtt2lpPvIurRWlCgTahXzn9AmznE1MuM2BsKvcWwO7ktTZ4Z6kJ2gk/AUdUCbF2hAWjncxp8jeO8qNTJydE+roQtCSEaf1CkbFEK/M6trhv/HfqNOay0ghhYFLXf9CQCG6161wtOBLXotQQ8E963dCXAoVXPLi15/Z09Nh+coeLwtTnUYD+bzTV0/UKOAOUswCF4QxxsrJS+y46nUaPIEjXxihd03XuUgC2fqiXhvxf3vENF+YhK9mZ4w4nXoRPr4gVMJqlVxnXbBtUmRlXrW2GUrDLXZRniEVjxOVbxFQ/d0fHnY3HzDj1LLL9ZpA27AOfsyDMDHIRea3LDMReSpiLX8GyMt8sBjQ2LtTyP/YfZNl1OlCSeLIM8vbNqXrWpsl0NAbYIIqYp+tLuYgxRe+K/9R9yQCdvLLYJa1Lco/5HO+tbtAiSfUnsApCHDh/Eu1CBTFlBHcEruqoOz34A1q0xPKbIkDghEEE/RW/jsnkNIIFFZO++GKdkceVxdToKR96eWMb2Bj8Ofz19ZHAODQWkcuWHtkRWQ1pEx6/0wAzdaBoqPCM2wIoKwKZskoxrJT7jPUhhWaxJ0QUncNexiaH2wAk9k3qFpARc0uNIT61NtUWDHhOfIj5cOku7pzl+dj78024blWNw+5Uai30mIB5i1lALydShybO3juTh07AHJTqA4rlbhZoAtqlVVotuAWF56iimq+7B0wielVZvQUJOx+ILdOBZTnLfJ58AuUCcSxtcv/WwTQ2t0DYFu4XjN3wYycv+5S4MkY9SFmNCsLstnbLgIcw+EgQQYtUUL0kI3O5M339EHBNkwdLnNUsbrQYiK+qz5y2amXwB+BE++RKLNAp7dO3SUayw8AMWLnLAoKhw2U5MTAFikdCkaEtRPrfh1AjfXk9WBqF3okOmp4UV8L+4L73RWNTUtXhQ/P+2ajY5Ei2Ia1s/CiSHCJf1XVG/6AsUCSnJQUALAigarGeNC7/IgvCYVHHM5clHe0BDsP03Q40S01rCl5qWM11wlRM1vyMBbd+ADX0IqMndx8HKklB3Ot7vbewYqluKp3gYOBsNH9ORoPX3zRrX1dPueRswBcV9vmlrPQeX7EqkRbzEKDN3E/x7DqaeOwZ4JFDZS2h2JGJ8P2gr523P/2/4sFO+5/6dxSyIE/FyNrS/LN87J0bR442kSbQQPdTG2ERfWnxjodOBwejBNWUKOXW/AciaiNS+Ys9A8qMgbup1hi+Az5v+uZysWdi8pvrDKZaEEsvrdbE+PzLOIU7jWkCwNqly7xJtUJwDZnLUZ7Rr9sdqYn98odn1rSD+0O+IIfUupaSw5mZb6A1i1RU7Tj8zDTkSOvJrKTmZDF6crd9rx4fgL/jVT4qDMdhso6sM+nI1A3pULujT+7JSaN9q9K8+hmFAuyII75lae5MAueCSBChlaiZUd3IziNIteyDcG3khbacYxCjTlMXq/S0wQ1iMlNoSJZ7W7AD3VVqZO2AAyxR9b70bFR00QvFPQMUvyPYScdRyT80yfsOT7Y0TvHgq2oaZwVJ7wkIHOFor17mMwTme8hNgLYC68AJHAaC2hDo7GT6J3V3RuL8C5lnSJ/N8TQEtqAOzGZJvGjv88ienPi0AInzoN/dQ9X+z07j8LE6w+OD77XCAtefwj6d3DgBhGwnInNrwQFT8kUzzHabPEM5laHEfWbsvCDFEeJWGlZni/Oy2/4r6ERYgf+shO0CiCkXVvb8YajhMahLbYMbvW8X7HpaJ02XCPFNv1ZqY2b+63PxW7NwxVv6Tr7NMFs3X8Z/Ca8c1t8nDI6TK1Vfi8EDI7x7h3q0v1XBLZqV36et0NECvWqC+cAas4EznSjyyRL+ZZrimV1iniKeEpRsgCOsBs3zuV9qLZ3PLW1LING0/8EuThIOeTnOdN83hrSuC4s++xNp0DlkL74sBA1xcnkdPBG1gHokE5ji8C0H6psW0wKk3um24t/BRJDBh/SKlitGKtctTpUbJRzYjAS1kHpWJG0P/zZeqM4EfITqNXQExDQJqQOzAFUR0Fj9yOB7/rEYeYCP9Ta4X7uhJ7ksTj5BsOplvDBR162FtgrWkDXAXGkaEY28O7+nG3jcB7el3QZAY+ubGAgGGPAXAdJR4fLMX7zjcMeqyVsqKYpFH9oLoVRjxSx5L4aPEvdndi5XMPkOoh/DgG1zN8LG9E9iw5RKsG4W18j0bGRzWV+DeHxk2Yv7Yj+ApJ+JiwVrRRVyePRobzBZYNYH7s51Ng8imph9Nwxx8UvcFGFgRv1mL/UojVlFq0TeYUdmD0UaoFHrt2whvxMVsjJO4U6Y56UEGIvXKZjg2No7cmTpYnC5Phfg+Z68/vuWI+Aa5b6g7sGdgtRURiBTDmWVwUgCufFhnznxspjhukvw4xfgGM2UEa7XvSNLePl3dXl9xxxWC0WJJ8L5LsdXrXHcQmcF35RA2QXfzHlsKEipkDEZonP33VP255kvrjH2Uuswb8YBAv+ePqEHUXYW9jCUDwkGlaAK+57weyj/FKB4YPlRIFYtlUkX80y7HsY2ry8hmWmJV2GxGzoXJ/AhfJwXLkJZtnfRD/rVeCd4x8fcQkeSDhjc7JQ/uOokm5OssT2Aft1XBE9mxjbWQJufMC1qI4I9tnbyNp2C1c6RydULdKwETlI6BoLN5Ggph5b7sIYTbbwF4Zh/eRLvNWrYj06pT983Imvv2yZUsLBGQTukXwjy9p8Mq5O7434Fc07XWmzAUd/ZoXc50TAInh507o9Sfkww/gCBHB+XnR148qpB5R79IaEYTUGn0fvBkJGVTqFDhfmo+kx+Clwu3exucbsWQ3FMO9M9rybwJ5eqd8R4u8bij0bxlcGvji/XK83v8AFf9WIQzDWLTJa357CvvQczPctslJytx2S2C1yySBuq4jGfIw3PJA1nsbjaI/i0No9lamJGtsel8cyMGo9BeBIouBvM6vF9Qu2601+9s9V0FJXqJtVqKaw3pY4SHtSTV8jLX5VWUSzD4ArB65R++YMLZnEeQpgBHO0N9kZVKZA5vghl+HQF3wVjb5StzbFASl1HeNlxrl9Ad2TZlH2nLB/8gYoZaw9u7V4XjjQWHoXAQT9Y1JgJRUhgCEcWno5T91UdEAHB1r3lKNvb0zE6J5BA+sbDZISqhA37mkqOHSQjcYR3d9HQxrHwyDdaR1mSjzc38PKke3zjJgFtKoWL262/qs+wEvuZjhj6DWb4pcV5c9B08CfA9sRC/PNwsQEhLFiH3MbOVfi8bSuggK7sM+LNx4rseE5hDHxJXw2uje7wSYXf01iouiT4M7FmQxrfbDqjFbe5uATwfpHU9g8fqqMmPOzynCLorkwokF+clRT6ynL33KXOz1yX7/SwFrSWBxGqwwGw/Hi20o4qg6GpvQmUxzT+sCaXr9YikcEID7Lz1k4tQYsvYIVq9vhzLSlvebxBPQ+jHSU8l1svJtNtwsZM6y1dfqCh83j+4ljQl+t1r3uVNicRBBoIcpN4qMDIkiMHC955bYa4yD9DMfGbG+qd4YFQc/hEzejXnzxinFnl/r1x80cCbJeGWt5dscwS00vy5Cpm7e/CUq52kg8/rDsMxevQXYpioI47njaESKwV53bNvE2YWGB5DIgr5SzV5UpU81svsMnUreEZm9K1h2cozPKaYPUorDMFer0eTqAzYDY2rWvXcmTTYj6vWL6dP9YDc3Cd/Uv+DVc29amRQmHtVLDnolaIFj5j1RLmo6OLuQ0/FWdYXfNDIJRQJVZ17qRadTowSfmUZVn2q6WGykj6CjDdYBrgKHVHCA0oJwF68uDJ/tKXNU4BP4JqSmfJAW6sKdDtDEY9hbUDD710yHcgd67bPXkQKyHM7FsSTT4RWcbJAtVQn2OvXMsDfWXVZpv0zXyKPn8/hn0j1z+wtqRv3YxOL4WOV4DLHF4JPVm+g6EqrQOHK5/9gd+AM55mlr4k6nfDzjpXfpuEuViAeI2TGRFcxTNplWUumEJ+API2yaVjHuI578QZ3N0A1hOYDcdqQA4RYEwLzSOFR0UmzdwNsz4HCkAuEeItGbLCNe0aZTzkkjFAbRzTeamMUGWEYbtfxyJwN9ItB+g//vHyBMu7SEoyoonRterrMQLC+fSkKTZ+XETfI6BQOMwdeF9s14D0s//Fxnqxxd3Ip6F247ZUwL5XFTJxZIEWVa5dtteu2yHPXisjVIK9R4M7Oi3US7mXJTeZksScwnjpwUh4RET5sHRT/9AAEQQZCQSQ30Ts4m4bVnraIzkH6mIAM5T7nLJj0nVGDdZjAk6dNEM9qDBRlwMHK5x95UEWvRS2JrSc9g1uCvPcQkDrsFhTm4dr5QIFrTsB/Z4y/zfMDTuPunkuMgbJMswXVf7gjpXsQSjeC7EzG98CFqMsj9fM1ArFbNVk1ZDYYqakPW6a8UXr9lnPkrZw0nubjMNd1nctklgpeSEtk/4fevPssGEsM4Ii2JaA/hP0NPzfqvGBd4ScC4kkIkiI5iH1KfLDZSdyegXSJgpqWNoPcRCvrcDqPhoQS8XmegPMXFv/msHrVsat8/6Oj2n4o7tI/d1zaLGQuEuu1FGBpoHgfo8VZOSn58HZGWdQ49zCrAiU2gvfK4sRWkHjHN3Pewf6dxBk+gi+cAOI7w/OBojSCDyKBNaQvG48ENgGpenUAV8NeyVM9fALmz71VOIHTgj119jRz6HlmlLW4XPRpzKBEF4KHKPnvuA0jKkgnJhMvbIRk6Q6hCvwCdw7tU7khYy7TSBaOv2hJp/De3PxyQu60txYos1mWJATDKj2/t0/2HvTJrK7URJ2GRBYfu5DGVsQLq2+zu1YpyfrFX8QEExQvUttxnES1w5z2bbf06NASfuqfbVGZ7mrRntLvzhLWIKoDavUJV6Vm+B3/os0Q1l2uSB8e80men5Mhs5M9vnmiMhCUOx6OyJ6SGFBI4vKuL+q/qkh19b80yM7rtyDmXIyEGLQyHGTLhXutOPwzlbsZ1JcnRN1PJcuoCVHJcF7JF5aDcyz9CCyNenpcBc4BvN/YmoW+ellSr0GqtsICJ0S7vyvz92TCjgox9OC1myhKtRjnMXdJKVvDNdhu7HU10LpW3dEI5ekzkGnfWxEE/1GYxHdzYDCufzmnejv4GGbHscptJNsWOWBDuwhHewQxK+GIu1U61i5bYdYRhn1Jl4ExzqpJlQuxm50wbWVxWp7WuShudkRDha+s4d1vgRYbqaLwYqkBL8yQs32M84fuFpad/wWtAN/T+JyB2x/glJi21DI87YggW80LeyJ4LxrqLCWD5g6Dx8HN5NuWHWfqjm5BBT3+UD7HJea8HL6UMaPDgU2J9Y+W2/dKTpjuiGCtWqorC3nzUDn9y7K3wOgTQCpHJH3Mq+10Ad9AZYx4/ukJms19oAxvQhIFxCoUnVu3xpb4sJJN0Vp4QGJ2Du5BMfAEzVdLGwmH3bSSCEhZufgPqJ9dq//uGXw1ph5KsbGAGXzfaOu9FvtkyoD6LkI2i1pE7MzA5DVp15x248tipppA5wfR2ohBh18bzWVGizKdPp0Hws52b3L26PUi8Sdt2/myXZC3GOdkL0DG2XDJc7IRVFm/XFGOQ36vHT/JVN0vkImtDLkNHShOgiblMXbUp0UUHF8HIVJczipeLjjQ7I1PG+rul7Zim0KM6sn0fydCGxkdY48QAkB6mUo+XizXPNHEP+Ic1RN6w74u00aMTJpenPh7vVT8u0pQZBya+JQPdGxmiFrInXbASsuj2D6N71dWxtZOmtAzNZVZfNAdG1Wn8hJMKM0928GAwotzTEB440Q97d3Jh+pW4nrUz+yhtNzor5Wz4I464+sYPjT4CQC9aQc2wwD35ZzkGG+a1Qgg1R9UsMYBBlxquF0b3b3/BjGp1OiNx/a8YkVn07ujg5tPLEOYVK8OucmbzVEgmeS3grHMdS3wUcrWpjUSXqdTo21iGpXfbE5s+rxAZE4xyKMZ3sVra3/j06xRtJ2hbEc0ljIC/NEISPkgAtwVEKGuxY09puy4J/6tLgcH4QE63NAoVj+4P0Uy7itcv4J1+fDA93Yxc56PjvH+i7wssLw8syTdteCJXiGt+LoROIJqbfcdC9UHo4ifS/3lQGnXZjO6p+CgnODX46bBYktZ2cHwQ0rHIUJZJ0xfVhwgH0gieZnZ9L6la0+DKtHmzBLjAlZXo+qNCA9ITmqP2o4S0cW9MGyVPibeO3PuVRMdohPF7RdRhCAG1Kv7IAF7U6Ih3DGZpzsuPS7/nOxXj61Z3k0RjKyHODMVe2ZoIYceA9ZMheHkMpafijKJTUr6IF+u3gXQWUqKELKqJjPSUhMfK+Ljn4PZgYUja4MGOUG4ssQzDiY+YFDU4j5bce88eygS4+EkJdNYNNYWx+eJ8508ioHeRPDp2HJ0597YhU+V2U0EV3weTM3h5/UBjWnPnga+mwvABMrs8AchzPqN5sPDZ2tSRnIXuw2dyZAvO6OB4IExxtNmjL9xOQmaLK6TUh8bk3qvnk1f5jND8gE+EXc+3bs3+ttTZbNK5A4VWhkQ8sEiQE2/qU6tFv69BiJxK69Wq/eKPLZqGIUID6f324MNOxZ/ZbiDg7h7H/h96SWbBASQ644+dschJYiAUxe0KjX5u82T+/28cCfaqZc6DG0cg6XYVXGgb9svJh9/p73Xq0Wh8aAHPwkDcnF8HlggjqTlI4iAfx5t9AuA3/C7KEi7cUp1mdoHskvq7uY8WwRzSXlZGVnoAGhP2YMKC8OlwyMkPS4obZE5ARiG+BwXKmGjQiX0Vl5A9FMsS7jqVsOcFwEte2HBkz+Peyn3BY4j9dZRhSfpS46leStvzkZvOCo/TeXtYlTZcnc9cPCU9o4DkCmhRwvA4toA3YpwtDQWz1NV75QcvqdCOk96ncTErFMNKCZjBjFwt7tCyfORckrDzfE6ahNdr++AGZ5E/VCTzZVj5QR2Juu2xtFJlAwspaha0ec6qDsul9YFZs3LbbGCp1MRMmFs4qL3Pu9Ww/TpEyjLPQBkfuz4y+Z4Jva5Ioa7qzaTHV/HSFyrpHNpZ6O1yFvDct+9XKGm6uhk5XQjqfGLT+lDKjKjabsJ5QU+TAw0trsILpikIuayKSd4ccxH+2zQFI35fh3AlCqz431Euu+HAZ95HTl112bBAmyrxWBpyXA0xjBvWC6hXsyj7ZRqgbLG5uUm59Fev/PRZhwbTPzHT7JttfIU19W/LNsCBV5iFvchcl0N4TFPWD6yNxImJPFq92UfeNcJQPSbz7hUap2J3TKOW9iYdgtiMxJZ9fGzWp5L459mQul5pLbWitEIapeihpAw755wHSQ1e5nRzkxbpxWAtlWGEiIMvxsr8RCSMjDbjAdNIvkaQsXOFrJzX78+QsHMDrtsz5eJjBOfBR3n45JE8kVqneYJwhAH4oGwYJUVnb6P6C47YKpr4Z4HCWqZtGeQJEV/yBwtN68UdeHIUB0+pFxWAb7JcLc4v0ZsIyxDEbbHMNLkNz0RctDK7ZANoZeoukapZz6OoOceh+JlNRARby+SERd2T+pLdmCQvdl3x4Zat5wVIbkOFTxjrbQ0mKS1GLXKk34UiLWp93u+DcB+8qgDxVmOVPRniULmMezVTaIEKYvD6tBhNhn/7XvUSKapkpsIXIYwQD1u4mHI52iOedGoM30T+jbXw2mx/F/X79TujYcGeXLDITEkD7eGm1sOlMtxGcFn1SVcZaTTCUYETvIcponFLqLerIs6sHvTNzNjjwuBXOh9gzYc3skLLF91Bbg50k9ofDTKhr73CdpRVW1eov3xtigrkU7U+j9Nfka+CpIkOeOyRfkSpj6vVtjhQCvDJg8WWpfGNRzFKuz6IyldpKFvsEoiaD6kOx5fPQNzc7FmM5+hYptRx63aU3cHP8WVmoXmliqZyAjveZpva2LQxlwKtwSu3PKunYATocy+N6t2GgWxDFbsGlghB/xSt34X5LskRxkHOwBcnrJbF+mCW0sKRQ2udtX+LDWUjkcwCu2eeNp8Kw6aeys2mYWp+JgRxX5xLxNEixiAXnvBTveDTnx5iGcLj7QcEMa5pUIgng8B4ufbxJBU1BwEfN7y+RFnBtxZluIpTMojN9QEUcAZAHWkzngm3TEqEcEfIUaoXuqa9vfYzdWlm6b/51rt7BEij3ElDbCKRp4N2cj4iqF9OqwxpjRfOhq84c+VK70MxWRfqv0TyOzKbrrzNnPJlszPw+6+QZpuk93vMD3s/s4GCDdmtRtEdrZ9cgUTCoPU7v3/XrhELLdwA9K3vY/mzQRz9z6NzITEMx0j38sOZ5Q+xHZno2DIZnKaAu5wFvwhia+eAT9N1MGNMoFXFRCw45RBm8BQTNOoV89/33ynaIXylW9qjvqpUMNCRPxVv+x9Df8btXJLAOS/rbTNGTIFqLROgw4hnUyx46wf8+vPmzNheFnaHOMat8IfG8LhRHGT1h9kpqzzP73972lOFwILN8sUoZXCy79z+5U4/dibV8fBRcSUWwIxQ3CIBBaJu+lKDW1UqG0u6Sg5dHEjA2e55caBdjDabRAvUnTfm1rYigwydDi9b6jKIbJ5t3CrV9fnFQG1+0q3CwxOH+tAEnhc+mMjwPmkBv54QY87VB6k/aBApyZo9PpYxAtzgarnA2pWZaO+UOtU/Q1xw1syPEsuxagdeafZcs89H6wYoTRgzG+JwKDx9fxt/jWGcVr/783P3uY0FhQ9m7Ce3gUMWQ2KbpHadRZiOwZv3F/fFs/CabZo4SoM+1zDzwh2ADqLoo6Hl42l7qn/WQKTfdMbltdP2MFyKhpMStbV3AIMHUwLDf+OWGOx5ckjyRLZOAEJXIGdUuw3Cp8VQ9ZQTLmlDi19TyayWiqj5FdVPKJaUFeLhCIugew2cKlHQng6hmOHVz4UiSu99mWhI/3iCPOOozGWJ0tW6wiAwV0lwt6WRwu9xpR0vZBXkr2sPMknhYGjHCuETRjv1+C6n/4xjlpOxeHBffMJWnfpPVe3uaAuGZXzbb/27U5VOtML3zOiakFwkl6SqmFuWhzxCPF+SS4jRpmEi/FDUwynb9mNOFSZ8UGUOvJAxSJWUve5WRvHiCrt/DV8Bgqj+daVxpM+Xd+O5/jwaDxC1tdd4eT7N+JZuhWi6N2oxewjHfSCe+SpgIT4gbvatrNRQuctQmKtvQ4o2Y+kKfrBvi7fCjoYBAjXbYrFQAEajsTm87qnV7PZjk0s8SkC6e5md/RAHDbMxQwMyvE9DYaPwgN2JbfUwG2D8ls75hxt4L4QGqtE2yO7kBt0QBkxLIQ7eeThITNBZLG9nbyEdVpSfKs/YYY09IRwIMYzyX4sKFucDfveRyNjXeLf4e4jop296tnlpD4ixmVl879p3EcGY8zxX+2O/YWOEoMcKQlm8K9g9ywtCzLnZyFgEbqCXDABMVgAYZyEO8JOxkzRSIFPpizfl++EAVq6OSD0FxhTEjv6FvMynuFI1l57POiKrF8UjaVK7mVUPSjIH3sPJ81t52/KDjAvq1bBFW0GwOhScfaoEfcn/vYxmOTzl4V9ljKQ219hDusuOKy5IZ51GTypVz2DzTf0rh0+yYqokqUC6zxVwM+nOIcVVTutmDzil4qHb9WCubXSj/8e6HBlxxJJyuidn1MvXZD80Usoqh0lz+UkqVCtmjdMdsO1k6Ksi7qdcqOXLvF1QB9aAT0VQSgd3iDqJ4Zub8dVXtEvZT+gpz8UeWq6zV/3GBL4zPwl70M2Nx53Agv4Z0Tk8SoOerv0X+5rrGtYdVo7KVWwBTSa4C30fZfd2eYKAbzUgImEyTm/v4/5kgPhse+aHuqeUUzxlARuJr1k5RIfV1lOX9pneFBj8tAY/WdtEeHMwuHZpu0tbYKGZc1EGHVvQtkBHlPecCs4D9lfGe3a3rAx2I/yMtsuFdi9Wsan1MtOQJZskmuxuU2249DPw6QcNbUATsu3745bz5/eAVrqbHGhn8vwTh1+/726PdxfFJwI1JaNwTgmKGkEO1HUrieUIQuNC8nJ/KtbnsDYZdT3I45j7z3YcVOncB/qoBT9DhwEYNUGvalsFyr0GdRTryVUh1QE6SL6spBy1SnCIJbom5xGbhs7Q3uP1ComC8w/qNJ94Zehz2VSKb3lMRxlaJ+z+klBr0j0a8jzlD5FYhpGszks4iE//2Iu8FbDFN9neXtJ9Hy6sLZAzDfAKV9DRbCdoQV/+CyjO0gAJzZEpqbFELDAvguHwraxv+WbwAFCQpS2qASTsld3dTapCif4GyPtVoH7EN/d1VNlfuMCptoUJIxUPE3fp6SuiuXp5mFeO54VK1b+CGvp6T+3QpVX3gHj4IS/Do5Sl0J8o7D68j/1Hi3BYE8WcYp0fGllrrbqx56MDRq67M4nZae1xLp20ZZx+e08w4rsniCCCgaLMEm2+vw9q+/sHA5zMtBJXeox4rPQQWEr1kwr7Pl1liWv9TPcx79B+1LBkb1l5FKb3qmYeFuDGRvHCR6X+nrOSP8MM/T8tWH7fQvo37b1kj9usU6xhXclYInUidGljX3OKpQOL+7+E88MEeIlbHmlzmgS5230Q6rTTdkcdp7122UZOFYYmCqcafVXsre1aSjATEOh+hrrX4U7+dkV3pi8+ByZzEirZ8AmnPE8ASaUMXulCMHQN8H8pwK4Q2BjdQ8Qt5led8PgovHhV1AnfsJveb8mBvFXI0M6/E7jnzAUd58FskTsW6oeClSu9tsEAbDdDMntjYkUVtjsLm+VVFr+wN62C/8cMk5pTcj5Si8yx2oUZBYKOLUVpVMvJ9DMCd8neQbbB+y+tuLRwWsF/hN2p+6SZoFWFaj4MalAhqm/QT6rzzDlu7uore3zS6IdgfnOhY+1qneK0mHkI40N9hQR/Y0chCGvTpSMbnZ3WkD6uQozhk+Vnd26pbam/6aRc2AwAI0j48vIOM6tRQpC5mJQf8zhtOn0AuUe+zN/hKlfrmVk64/PQwDn3XKThMm1GCKbIbKws7UEO8MOksr1hnzwLlF/FQL4KipaY0pI6ej/ZsG/NIK7wkROTSB0Xrk+cOtg4d+d9+NhL1woHkRaszX/mk74YjAe7ZFu7sMr0G1/nicCWca2fTw92vj2f4lBNTaktAQLFG6VgiiajwHquEGhZx9aN0b9BAwEgiPIvBXvjdARBogmDrg84MHxfnnMIO7aS4N8R+0x+8HGiPOZSwuqJ4vPC+oo864ZOOvQo6bs24MvTXXBhkaq9TEYHg6TzaAhnJP/nPT+7MLqlhW8yJeoknbcP7z7vmC3OXt3LFduYSX+meG4n/Pc7xXcbfwONTvwPZAcWrS2ykqReMaVDQpaBlKMr2v6vD5O9L4VMhqePn2bUHXZZQWK7EeTrgARBK5lbubmS7MZ9mpWjv7Vy0mCtnxVBjnHdT8+Y3WghSx3YCBblvftB4bcJeN2ntQAtBfxTlAEKH9oJQIJERhiTorTlbPT74bYmc43NfJvQdvJofJRr5bH1Nm5sIkWW4IzAwGUZSh8f0U1qGfWHr5L7AjhjDKL3LN/iS12wAleAg5iO4mWdpURJu1xCmIeS8Fo8udQQSqUPYzLUz1FQS+EzeRxcctL1isXUtgy6mNVteGehxNibcrZc06JtRqXG3S55Nbb7sRhs8kyAoGXfvT1nRG2wqy8qQZNTwTB5dFA7Zuc1JJy4sYegxsVemyXsDHLCY3y6LiWowtJeh/tVvftSEoAk7GmrpykTaiDlYraLDn9GGHKJS+cpzTR5FEL0yDYPDCYwlMNjIOqdlMHkUjKHryB2EfLm4J3Cr5Lh4FRWmeNrocmuqwjyF6baiMcBgECN8VUwC9g2Tc7eJJ0OgKpgJ0Se50KS8iwfu6ugNSGy4iaXYqa4ARcV5ws95LWGmTI7zYBzxxrmruXq6BVuBSqV68Iyk3rmm00vcWf196GdFlQO8UNMU1IoaCHrIkv3WavKC+byOIAb/M8Zr80TYzfHL6aSjh/lQT2fIqFiIZyLgJUPwAcyYJRQ6gOP3J4FTnqcP+Jz7oJt9IegIqsT3NMEQA6mjJAfBQYkOz1r5kqCbvFhmnHa34GsMq3j14VoXiqSXNvlxyHaN2u7Bk/L/uHgIaPLLy+kYsYTW2+DoB1e+k4ras8GlQhI48I1j5q5p2ePN5ja9QPUQ3TvYowh1RHctr1L69gNSG1llGW/y/dS9WrmiQyHrq54ZzIcjjAmm3ZwsSw1waCUmLx7oLG/XivE4mZwCHRmX0oMRY7EbfrxNsL+Cz7dFPZhLNHIWoEZtjUuy+XQvzS+yCSDyIAt0rj8b+vdK92dp6BpxTDbYkI2/c4fCf1DV8oUZhcFo8mjI7MkUdyFdmK53hs0LyMWy6uGLs4Vqjk55kg1LDRnU3H5Du40D0JSRuWg96riRDaWJgNTLW7U9S1oy2hmmjsV1dzw/3Hpz88DzNMcnlpKCbIVK6M+ondtJl5Ynz/8TnTYUm7Yckryj5jsfX4237QTQzYjYrPujCYvbKin8cvEEqWfbrzPhEBWwV/0maw0SfF68AtNt2owHTc0b719lL42DVLV4rH39lzvmek1dzZkK7A8DlHJKggjzt8sRHoLu/31KCRMDMmwVk/BCSJ4xypkiQOyN9+xEVc63KodGavtleBM++Lkepnn/gD3otsaXr+TMKTm1HbeWx8PcUqHN+0O9W7XQC1N/KGKyL5f4eLXaIIV4MWh2txlG12b74VdkYXPHnl9OBPIaf1BWDgaNWPd2CpYmMBefsfhA9tWD6ll8NovjvtfwucymTv04fRnQY+GtBxUcF04TEIDMmgbD0XRBRs/w/GZNVMdR7BussLYkjp9lF+kJSwQUxWnswOd7tHLSbWmlohyW76YIzFRK2ket8philJFIgyTIVDwmCh0IkDyogJtcguqaN9JxFuvrajI85aSWLRnqxkwxFoOyHry+KV4yQ1q/tXJ79uBwA9UR2rlfSwWAvtOjB+Y7YK/snWltOyxwLNq2MMsz647MzjV99qrJQbdiwPRodgVC+HYKUDHO/D/RzGfpLLOZdcT+may7G9zPCrhNeuPr83vosDM60wI449ZKCicdm+w0CdeIQlNhSD5+ZiP8B7RPM/0hKkfzygylBxzMiKtrWZpdxVJuUB9jbdwdnsQC2byPj+31n41T/D2b0bG1POg75VLUF8LUjjajslBbQ7nT2mjRy/T6Dt5ZjZKY00JUeewf/YwufQB340IDLnNpSnkCpm8K8ZQ8CO/1Dyi7GXbzK9QZ1l7+bCeov7bDv3kwSBRNrN7fZjS5XQJ9ey/NtI0cAEBRdjA+KjhfCQ/eVl6SEVg+dsULn0b8w4Lc/YPKvjV9CBpz7rk7SuXptjKZngAWnVDcl5KkeYgUw9i6PhQoMy76beNxJf8Il/g/DvxlRn0IwIUcoJg5Jeynbep9HVtwggoyKCUWkOoxwBxxz/fpVx2uZ1c1B62XDXZhzf8EzIib8KTZd5aKtPi1T+yxcJKLgpRUdNAqJDfPHlzFSCSI+jNfdWohqIGpzpflpDQ1mlFfQMbl235hjOiRXZr2MUXayTPhn6S/cQCBvGpJ2L2aIWfpCRX+RL8f/DT2xCM/PUXORMvgBDJVPzHyBzwUcOaMzvsAh0Ud4hOlvcpK7F0SpZxcD9dKYHe6tHybxoGL9t7EDpYMTIHs58YzUwRTzBWoBy0X0Z2n3k4bySp0EQUuuVIM5IE+OWzItfReA38igfHKhodvkO7Fs0XbyLqtKqVfE+JeKA64nKcuKzzaNEtTtja1jLWTNTU5aM9aZGzrKQ1SF+4KE2XRRDCtM9YY/NMUlCxfCEigNrO8cuQFwYg3xR2D8FWSwsxsWAo/riFDF6B71k7Ow7ci7QR6XGF7Urm4yEmqDR2S08N1UF6AqQym4BqwHVqh3l66VeSRcvNGT7+6FUjEQeQGaNQItQNCrvTOe+sMSDzYi4cIHLzniq7PTkYS1SRn7gjETMJMyzmGLdwQh+kPTSpCTj6B99ihe5KT+wLQxBmcjTsymk0F6BQeaOc8+Y4JvzCF++pB+m93E9wvwq6dkaCqNwVoTsm5khPuSicrJhZFXG7UxLsjkqEPHR7exKGz73pXfGYeqo3t/whe6MTR3WewZAs0XPWZpFNsA/6PQuyROOp3Lf0ZoUFFSA4rcVGaqtmiFJ08AsbevM2803OAGBcqQfAcunaIq2ZJpCpdnekcA0tziWMffQJ4f9kuuW0aKSOEV/gGU91Odp9cNhR3fW4ITc71YWH/R0XngpKUR5FJJ6ei5u9cP4hekANeEknWNMgSYyK/i7bAmrKScB8XeEUxtOEET8ZFid4vJgaJp2QLJBKBhXzAB8tSVL5xC3rWKrc7c7Mm0cXGh6CZIBG7Ryd1bAEabvVAA6dS/dhqS4dJODctBolHO4n7PvAIZsI/5CNLrvNSbO2CFCb00AzqSd8QLNGvkI08WQdjdrHvPhdgdYwUEYamfNBpD33BLzlmk4jOojOkKYuZYMU8DPIp8btyLzMgKQHbXEYwQFpUpyjTeJ4dJFdeZb6UnbbEkkXCSa8H648yGcu6iqyXrCO2UPwnQs5KaIbg9vhEaRHaUX/On3Iv5c+kQf3JA2CtdwBdLa9PkS+b8LYXCc10NRi/mEfV1j/ziktJ6e/a5FDZMiBeHp35kKWPx5T+Oc3ZPhzItdvmkD5/Keveaojyf6hFZtY+O/qOn3GZ/C10kTXCGObR7gSB/1Ekjgtnc4SHJgYrmd+BtCuZjXkQuVSQGVmZ5vUfwaqNoO5Hp6flzEcUVhdav8vBahYho+N/iLSUhyzOQWDy51az8J3FbEgGZgRPOAbLOsq9SnqlZrcbF1oNfJyWiFevqI6NYiBWl7rr1ah2BNYDBIii3ldLMAEDiczAqcOWKzW+5PNSBLvQJ/pk5tnWKcXZHymdICDgbEpsnqDkc5DJ85mNi3U6XXulx+gcHiBUSbPTUV2TTfRkUm5E9kiOGRrE/w7cZU6I7lGHZqWkpzuajrYHLeSfWzVw33PdIiGuMdNtc7txKhlbNzFRTfkWfHUXNorIQmaFsWDnKtEtar6CemQBwv4lhePV1PiamjQZxpXllWqPE5voUcCm/6OQoFhsRO8B/V+JJarEk2LBMby6sOYSqiun+A4t9tbhvhOseaRWliu2P9KKXvFnJBN4cYYOVZ5Lq/QwvBKa/g6LGkIFtvsBsIXSSk8pOksig5gNYv6wGsuAkmTR9tw/1FoibxzvdU+oRzOsugr4sBhoNWHBrUhWOhBdIhivbwD5EL2ildBhPOWClfNVt8nMkR9u352axC9CCYfshKDmW0nYXddEq7TAO7LPaBjzj09By+RwaR991I+Hc/kdgN1oFxGxDwCrPMN4iVb7G9k61jn15gSGgTabtWuFF+QhAuYuDr/HexO3Q4jhKh39UX3uHWiRgDUHH8Tr3WGM+OH3WnZafaKlHveHzWgOCtOlZZcy3R+1JRbJw4zTNAs4LfJ+usS/jHyXMtI1BP3JZZ55rThx5yNeK5G0Za1z3fHzA5iOQc3G6MLoi6eiyuek7+Ty8nJKw780hxlR+hT+frwN3UxEcj/VY2WFC2rdDYts896kgtv5odBvF0tjex37aAdch5iAymDaObe9c9wzmDdCiT2WQMErfkYoRg2I/GHSqsjJ+IihU3S5uFkQUEKN312TFo4FmnFmHgBDEumPfluiQCn+gJbokpE+0uUOSA5bJ1CBvJiPSuWQDC3ZWAUxlLQnYX4e1NZBiLAfVhxJ8JIz5sDY9LXRrTlSp53+AISPbzfaGWgdiBIq25I+JcY90NBMKCsrx4eMgeQXZZxJ8s0o1JkQwJBMsYUYft5H+H5sC9fip3YTBLrZCNzIwJWeNmRMqgWYImRbTBPZPTMw1BwGdui+jaYlFwSfO55u2kU0uei41Frba/7pVkkflSmHjg3MDMEZe1XtBYdEXQwwy/CVIoBe6fdL64wpkRgmLSZJGYBXHWvPFkzvUBht4NeRlUJNYJYWD+vDZryOveC4GrPrptSzQ36WT85RnHf/Ymo78rEdciLk98CEgKYPuk7vhqzgY471xPpk8ZEW+B0Wa6qpCnRPiWeWYzsaMLq5I0rzAwX30HEwtWOB1X6qh10D57bF69QXICnvn/U+2IL9qhAsiQJVLs2vHF0XrPde6uG/88ugH5FTjxDZ/c63gG2NIFYfeIhb0Pu9xtrDFkpkqH2rzvJGxih9PEBWHDvsxNknVNMeyf/dxCkUflgxuK45Onsk60vqrYUHYA/vP2V5lUivgOn3AxBLoTBJL8A3f1ekavLNeQYDSgWdoWIOlITditbnd85iQsO1NIbV5+VbJmBWQQxlC0TXQ64O84DYTeJP0qMzVT87bfJ1xzkELAiD4sKKtDjyyBQ91T4ji0Wr+pMQ3rX7rJvyA0GdRH0qJKaMBAgygrxHG/VvKFyvdHyBUQfyzDjuj0Sx4F9QhZQxd2IW0XjBxqQ4UMV45MPqj60K6XcvXJywHMknFWmoCJG8sA1a305x63Oougo0JvEAKhuMfDFBzkpWIpljh7htX48AaIrMn/1ElVAJB7Ja/AcgIqTAePNc7zkK1p9GZXBuiz3I7UEi+EBN29unTz6QHRaN5aua9kN4CMH1qd/KORPzOS3gFrx5rmI3vU131QiGGcbgvYgWLaAdsYoAHAksi24k7iIs1v8K4+RCCAprPRwm5AWw555IYUCY3GVi6q+W8+b0tfrECSEZOqARjYYgXGUQ1961VrZ+99ezvqG1p3odDhCDA6ihkM5IEL1FZjFGVV7AEmLvaMXWzEOuk40lp/7foRg3ZRqzRdk9eWHjse9TLHRY6Z0SBktNdiyW78/naEFEoX9kZNnkAXln4Vwa3cgpXW/PJIZ5kfQITxLTXKwzpdGAxJWsZLY5NhxxrIR5vAYbe4ov2dw5qJMnhi2HD8Usc/P2gXo9BP3ZPoHczUKskhw/pb7yCAtPDmvc6Mc4OYTF8B3+d8EUK/KC9D19Y1AbbeDj29ifFU6bUyXNleC3DeaUoHEToJg/H9nWmHLLXR9itybes1bDATkcejBfYFzw3rZS/66UAGjqAQ9i+kXKiQl8+UaunrJCI94Yot1qJ3f2mzEf/RFIEcOjNdunuKVOluX1fWGkKQID0chWR6LNmWBxZhtSKtdI6jWtVpfgVrvPrHg4WjIunKDhZ/XH1OMXEYhhRD4pPlcNEX6240aPvwCv1jiD30mCcfxkfj0sNW48p37EbkoP8JovCSVyzj4v1o/SKSUEVx4+WyZ2hsMU9JpgbnAjrfZz3OSs9MT/cwXODaD9B1yFt125VfRgCES3NvSlJikSwf9KUhcF6FIph7fUb3FaUCiF5Y/oX/SqESxyNzfWelMZ7e7zxyNOdraMoSKspSogxYsbcKSjv6rrezPryzfGPp51FdXebLfTe1ncWFjdsIxcDFdvNMXJ4U1T0qSQRH8ORmm2UlaD0e21IsFJed4ObOat4qVdVUNDy9UZTC3B2+cIJ8jO14vqX4+PFGSnswq1rfJXdocCRTXivWbHJpeSmotvgXzIYD9wxR7XJHv3EnIsknaS1TUhyYZNFw72b5ykupZ1an5TI1Nd28YW7HywSnuQOlpY6N+HhBq5tB55lomqum86HBPIFeg4dt5B7lUhbuE+RZTcPDZ//xC3TtaQ/KAmkveBPPONgGgXKslS+sJWdRYMQsLIbyE7ZzlhlEegoN6XG2/ab5zYEpUyE+UH/6fxafwfuR+vQli46kipOHq1KUge/olYFgpOpgPdyJGrMUeBaPhJaBLaVkSBJOWBAkeWPVnnc+9r//GF0xlziV04AIsZXHxewyvMkVrFsJrj9z7oQQ9HQhf9l7fJEl4g5f/EAd1+5FB2yhRkJFfnzAYhBsdSxcBGv05TV/j1IDnnZwm9RgBVenIJNAGulQwvieqftzVHm9hRsVmkDRWnvz5CofGb8Bpaj0xsqHvkFH1EY7EBlLa443YMAqmKvR0tT0wK1uVdiJXUtRF/wSB4xKA7JDCq1S5UOzuv9Hln5BHK9E44DZZqpew7tW5IxwKLddFSPOs4BOGG0+rjddFjluZwoS+ys+E67XUpQxi3yzo+l+4Q3XdBADqhoJPb0BkisfP/f9Rsvc7vAmCnDTnHKesVGLGeVVuEVK5b5jRym5O4LvPIEOlZUwTueZyWWHRAQHHWVzHUaMFuYkh2VkxFVcnBGv/3EFgnSkdwQYp4SJ4egAt4Nnl/6EoJTsrT3lPno0rQyOznZjQC4d1+9bze/9qSpuhCA4zuBsR09+gY5ev/vDAychkALmkRU5fGQEjJ+IbiAmvMLazdXbWxMLhl1lT6aoBaQgCCxklMnPG7Olht7CVhYzTPk05TVyRxSS/rlKnq2kReLTN4R/oYSWgJFq2pIW52/Jt1CwuBnfj4NaQxuoIVPX84TaThXCb5NEbEwvDGtZTOi502LtVBKGefkuZDpu3/5jFqTjpjS2RYwbaDR9oE4eMpjqjE93JGVSTwM5aV0cYgGPZbd3HUYOM94csnyLHfv+wM9TpWvSqqEH6PyCUx7NF0/2H3/J+35A/PiwtgiW0SSGPYoYAML0HuZuNCz9UnfCUWn6X5dkMMbURh/qA4bHS6dc52GtxpGeOOhSFxzpOz6aQyCTf0w1wP1C8mu7MvIqucyqUnNmEd6D9bphj6awhlmUXglvnasuyChCJOWdEx+SlgA0Hxj2BgxPr18Ted7kbIvT2l23gHDCpOfb/Dno1QVHAsxFyiezHxePgDHrmKKrpdsN2DFjELcNstmnjRsFhc394dq7Vs31Y+CK0t0oEmqE4xi/1lWbGabpiZE9BAOmmrMeNCM7kO5bNfU3iG6H6BPfj+xuqq0rlna5Xu3ezuSwN/KquDjo5G8xzcxl0HHOqqceOv5wR8zkxTESPYDkjeDyOqNC3JTKGPg7bpVMSmVxHxUy6KKrf12844EiVDK+qoc1u8M1pxxZIzufyuTQ0by2EOSphCFxp6cnYtlpryWfQYMiRMN7enVW6ItheGrWmh68duJntSF9e4xrLXJWj6RYUHV2IZafjtkeLyJMFS5Z5azL/wrJCvWH/UlQy9KlQ02kJsILlrwF/JXK/6IhTzXpQqRD7Gl7aieFGcZ2b4oUZUcL6JT4j+VqId4uPxymd72jBL6UVGQyipGs4PyOnxqtFw4IkNFaRhXgfLSFADorhRV8psTjeAYkOJP4nCcxSVCWZYk0CmjCyUmxWMOCoyLS51lfk++XkqZdxnKR6FnK5icDoKn1/XyjK8QAtomMAdWL1O9hPdRSmfixYKq2AoRSOZpjEq4gRZ8L/+/7vhLqUadC2LanCmZHKyug1MLusqWFaqjlnJg8OAz9+l7NqIYiNbioUTbD/tY+jMb7KnE+loJJiafBTrDTBpjgtcIFH4Y/RqtkfmQj6Zt7O0mP0WdRr4hF9/xZpoowUpcNQxFFhEGX4zh9zwAr1QvuNXK5GQfGYm1DWqQh5AOKM2qUbapnmFtLvBdUzBSbnn9cI4eJzh4M7lf8BH5sSTRRnOy8WwTifib/qZj7UhZXkbrLrPO9cewGTNxy7bpJ96PHnhX2dBKVJyX6DBYJzOlKYeNExey/pZhETqgSTsiMT3KXvkanoopUk8mgOJpFtj8S8znbwI10LHiAeY060tDEpcSnFhJzxmf9d6aUZ7Y3GKm+YpgoG+WMsjlmjkMCT1tlAe7h1vZ2y+UqqEiJfs4E8jzcQNUhLuQemmQX+msFzOl62Qe/ojitooHtBR+eSbZlYpfQTIwUsCV/eyFy2mX8dtCaHMDeReOykLjcyyAu/veGmrxo8C93aD5wEnfTvCC7bCROBCQBSqYAGKAh7ZyJBJ4LikS6k/K2ws1itCZglvqlgYFjrQEdpzdzCfY3m8E7/JRy757CjBnknbwWsqsGYPMhRvPVfmKU4PzJ8yJ7EBJ3CDvA1gTb0mjB0gegATj/SMMBtvO+YDWkFgO5DC0qmAOuowrXWm0ZlpKDgJngwdoLhHs56YG4/nGqmwpFr22w5ofs9GofBufpS3SYR7YVifNtNGIvYuE1jXGxi6kRSh+uxihsTlP7/RQxs1YghDdMKO2bSiRsrb9U5Ae30pR4milvA2DmL3Gopjc/mEjZyjbK3m4Ixr8aNFByCgLE3zCMVlh3F79oAWA+FpyHoU/FMBfRXNr7aqg0nGudk5teFICRuFPxU+s34O8opdKG5+QIIh7u6eaBRVx1hbFPE/DjlxBQtItcrPydz2HBdm0w4GDxhry42POmUMFBjQQxBPukDXQ4R7iyLFctku4EUGoADgKAwRgwym+Gl3uw2po8NmN2eWZ14+wdldgBCFwCKOnFlbz/ibfTE8Ib+wnSZsGAWPC0oep39hDqjS6S7Bhqy0A1FNL1G9uLbx4ArhdPsFS7+aSePoz7JYLTigYQGRHgVnkaqilXSY0jCwwWvDpgrSMTqBDDVTi7JGSLI7prgFXII89Rmr85A2o1sObMG0smFktXMTuGLqzlUvGoGWMbEbmbCnYV6LbcoC3+A2phXuN8FLg4cxwmH16tEiYb6xAx/2H6Sf9XhJSNI1xkOXG4y+OK1+m8sZtsXJiaFwihIyLfqNorwTSrDfNE43mbt+Rs5IDhxQA1LmnJiebe+tqxNi8P+DINIDUYRUdqywTRZrv67Y5r7Zc+Onip330okfMwEZYcXvbKc3z7wZcWp0DjXYaREpRZUpi+LO22IYwytKc2aWVPAoghDgpLgHY7B04zHShcyUhMBYs65+HCRtsJ+vXh0m85WDtyH8ZujvRt0n8Sui+dWw0kkVCuJjLP8dRXr1Ljvk84f9Yu7qfJIG+V90sna1aUzn0bGku5IFrBg8tgkukZfsJ19sY+5MnKetOOmSSWrOa4GbJuIv18QkVI4HFwKHLV3Qj5d7KNwAFf67xHHUQVhfhq9ihKXJJ8WlJf/FX7Amo7hF66vGAi9B2BU4aYWZ/CNd4PgGAbkjshZAx7k8EAu9P9TXpd71NVPnm5RBu0jD2Kmvvbnb7rZracHbFV26S6UoCflOCfxYgf1x02yecb97ZXjd0GvnCCyCguU4LD8wiLScWJOaSVfFMUXn0xl+N7BKPZTFYQN85xaffa/Vu8SaoFor7ydpixSKM6UGfHW+3wHD5Qy75pxdkUH9ytnl+7MPjQqepN4qrZRYw+c/35iLXqOHbdnq8BNA8l7I9b2JLmPOL84hBiu2yqdSa5A9AHjx4SnNl5U1kllhWLsvqLooM2YVhfef8+VAkoyNt8/uP7QzNTLGaWvwU1CAgABLVyzCKK9TkFEjW0HP6dVaeBGewFfcAWkdRJqv6LJqTn0ec5UeC77bjyeWHeLcpBEAC0Zfrtz0Ji0B9aW3jUFDFkd4Dkovutkp2MuaEtDjfb/R8bBSDueA2qXV8hooUr/A5C1f7Yc0JAHNCU2WvmXoDz0is19+gZgEcOb8IJk+WUACeZt8KDDGNAtAAzb9ajYt2Be9XxuwVS2+9Dz/Yt82LCWpwHQNMv9DKaZEM/V0Wt977HQlV6MYyfU8kHNuSEV/gk1DllagT1FacBNIJuqBSMCDqlUSTTCP+u5XacnzjJ7N3zPdpOFwTyldMKOpAjPxrGuHvxFUO4BvPMZZ1MFzO8DihFD5QLSvj+BNf+0cirk+6limvn8zBTuUsdGxBNaVe5teTPELt4hrLOeiaIRjqC5erW+tP/W6E6ZkCp8i/fzaKLWeYqGadres+mnusUB+fH7TSOyxDAzzGXlHicBLcChRsqXWFN6BxI3Id8d8bnsk1cooHZlvYFdmb5lfx7yVoKSmrNFcsvY8Qrr6zPDuoouGP5X7JxaO3sU0KkRxw7hH3ASTwDvEvl3vph9XqGz379ucZjgbAZSnJJC74xVOXHMfGE4bMTHaWrln7gECQnZVevNrZM+3BVUZJnMVF78/pR4nXjvTI8yJXdpbh+8SzYelA9JescW2mYD3HUKQTT+tBVLuz5fNesri6aReM5IIyu14C+VE1VIvnHyPBiMzGTQL7SsP5Krksa+K1vrPTa9pOc2n9RDpcwWeCUFC/1P0hlWrKmDfFVTWfgudTDv0vZ4krWqAB9S2MhtLx6EinJY1aPhusLQdSfroahx2V+qHa6UFGHiUqSfMkLoHVo4Vpc/LiBACR5m0pt5lSvXp0271yTGZMb8ytrECzvKHED9LWxOeFh12r4x6RbRREruYnJtVGxcMkOmm7coDW7pskr4h6tg0KVtLJQ0N+rjEJDyhE8YxGPqtkbC9fcZkb+5W7qaIp+kF1qBurpzUAIbEc2JHQffsqFZbAqFprHdgFbsM8rcPzZOF9cxEG3eKCodWknuS78z1u1nxjakHHQDnn+CLBqgPuxGiUx4bb/539wcvnX2L4w7Za7KDGqWYiD/P3qeMYtuE6X5rYuij6PxKg9Q6H0f6Y9gW9Pox/ivRVXzRYtpW5G1LVoSD/3APf3PplPxIbrFF8HTWKjDe4NdSG5ev3h/thMUY1EvCc5R1uRXz5bA/uISVjPAF04FT9i9ilDXzjKKcU0s38Z/KQuMk2Aux4WKseWRmzUYscFbdzqRU/QzMDL4sh7vYgQyrKUhKL6kQWaD4cLIgiU+3UW80KjuQRD3MNYZ9zEu6ZOvueAeqRett+Qrx7xKOChUmBoLaBzmrylxDriTdE041UWKa/+qPieNksURutwVbOxgf+77+Y3Q5cML7beY4oMMpLXs+4DBnCGzr0Poa/P3au1bMXt/J8l5VYgRrVQQL5ZE0yPGZ6zkYw4IXrquMS9e2UDy3mE+qbIaaniHQeKBfVSB2U/Olp/bJt6IhD2HambyF/oQXDAGdPIPeMngK6Iha8zWe/TvO8Nomva37x5Ge5urp5+pWyGqUPAL1ozqN2vZ8wAydqLxhFbbMh+u/vqa8yaFdWCrOaLVDViYIgFPwpcFw8Hyxa0drzypCmuFXTUjgH7zaBiMozQE7a1C4u6MeyAWWuqw56YnOgnfahig5r+ltsxb+MTaof65T5OX/XlNpLqlwER3R2quyb3CmF32nSancanTUQkZeUPebUU0pNz12S+scthRosv/BTf67q246RGQJdhwtBiO76bKnCpFhfiRoDXZjVu/UurP799wU3SAwaz2n6yPDSp1r4TxmfF+k/Eqlunm95PDeEkNYvksIH/F/Q/SIPDUi8C4+qJM/5GjzX5gyeDYfSP7598KdL5aJUZuFsXmC05Y9O5mIqBhKhAiv6ba5dHyx2bILzsBb8ppK2+g57EOsqB6OQZHGAK4YCmsyjmKSwol3QTJakAa3AoN65ruKHwn9ieg22Uh04MS6ULjPWQyCEm6CuuTXdufAskfiBYO1zcS44TiL2NDDPgK4lP0QP4w8N7axWD7g4jq7vw10pfi74goJviZWMpvXLlGLDBRx7H6nx6cKsf39+A6l+AsQrk+5wzfLtjVIc56jbxWiFnYqpevS74Zr2TGsl7wVj4EOovZN50GFpScKbWo+m6Ab07RCKvYNjRI52h3YVWy6LrLyw1nNnFir6I67HP7kUC30RgmGlEoAc1pwMXJlA1GMKlaMxdMNnOMbTNVFVAW5BARJi1LsT76Lirndk0Vwk5F9Kw0MByz1iAEXiMWO4rAeb3j+SnczxBe/F6iBhlnQDThLnuyEKA2yz18BG76azkfgy+KnWn8DRS1RUrIcSrDKVr4OdxvPpq11u1UDd1z6G6Bvx0JWMhBu7VvhAEO0L8qN0g0aIvYH91AxOiywS4w11Z8tMbG/iB/MonqGiifb78O5vCUYDfPlN4iDHjB4Rl55T1PZ2VYg3qKtbXxk2cvQEPInVD/Fd5tGUi27HICRc251Ly5Edg6NYL1/hsJe8DYhcEt8FZFXKsrKFcMKnIqPX+pWbkzCkzqXFmn/GjVr4cWStvqXyAYXYo1hOsPu1QyVFmrM/bKK0yQ6iPkAC249heyS57GhFcvXAS63qKJjT2g0GZ/+6WvWwCjTTVmIx+mw+HhCXLkV4gP6bZPeYHyhYElaX87D67hcgq0M6a/fh826kXcv3C26s5TIpnk/COM79VUymnaZwUZvDFxmTdE2AyLP4CZ+q0gmXzjXdPI2uQIUdfYbS33cYjdhc0e90I8TWedBE5b+1IqOqp5LuEVPzm6NIAC7HRM5g9goyTqLmtaB4Ld6RFlz2HxrxfWBYAEKF8+CsTjPInxjqfuz1TRHIsP29sDXnKAsE6kuIqQ3NN8d6KH64ffgOquk/GNrzyzd4yyvksrWe8PGQBdS71AUB2hTgoqRGqb6A2+LKF3J8M6J2ZnRHTakkbPTmLKgrE2hazxnQpaR056sKz4kDc1CGf92fhYZJvId1dYWZmkDjlIdeW5ns/Li0n7bV8QmOJUA5msMN06ollsjNwANgPdXfXMTY/KITYfnrIbkP+bihZEgpoqS1NqKmM9KAjbh1PNcKWEqYnjp+AUToaOJh7rP9E2S3X61Px24bdS4LmwdTFsJyScRRmf+MbX7CgGSN/2aIfK8sBCpkhbgNpsVk+UrxOV8q/zUI8nboYkgKwXTCyWmzqRgH9gJLzUrcsNPCIi1tTBrJrug/E48ODUpCYCcy54vFFfdGitzoHXieeaDqer1/MuCw0siG/JbUtgJbk475MDjdfOWaZ6vzx4T/VigL4wfJDg6squxJyFiRVYG9efbAL3AFvCPR/9oCcoEjreqH8NiFbhEKxXDDSZMVltskNVFnVvgaSuS8fSlZZzJOEewuDEdgRWTd0VWwXMPK4X91a3B7CTYoZBFO4HLRzCwGvWeqUO9wT10FEXgkNxBVYMq88YdB6VeOPUe/02wa9XI0zL4h8E+l8yERTz9cwOEfKPMzu6GsFEYB0ioPKLWv+kskbg5HC9QE8XZzY7aQirlU1mw07T3ixj/tuLncY247zz8sewp2YajUfmfLGyecS70/eOe5hTOREKfjxtoK6EXu97iQ0ceBxNCVhUhh4yTtD6UBd68MjXT+wwAk71v734O9NIokSyzzmFxS1hSRWVER7OLZ6xdjoa+1bGrgcK1lV1JDcRRe/E65d0LlekNaI9GYOTKlklYMnbXnjV3rvb+jh3QD3s0tXxvPFbTJFIZknRpo/WM4fE4xO6pdBywM64dXDEYjFRBHfsPLE9UFcLGyqN8K683p9CVI9cm1VJB+04dIKrh/TEODG2B779xuKUFXNvSS1WW8ARGRkLKBnbV7tBuONOFST+3EQdWVtGa9CCsnI1/66Gxnz39VhyZHr1sMCPS+ya4lVA3tadf/emo/1ZEKf92qT0hunGLJ878dzTksgwlDv8xpcj09Hq9vdgQz7k+CwMP1d66QYRb2abRvoIjt5BHlq3LO/sXQCFeYYb6UBMO1ithK9dumpWc+Cm2i+8XMyX8aAKyKNsG5TtSfes7Fc35JHLcBtDLRiEcRvL/0zS35GR6u09bEZxa7HQRC6kmjtuG62HpeLjuSYgIVVTmDvFjsE/VWMU5xm+cUmjm0aOrsYNdg1m+r6oCkfb1P4xKNsYHd40lZFjxWwaBeq+4HDV8NRxUK0r00lz11F0va8f6yeZaV9cfaIZZlXdNsenzpx/0tYoblC5QHJkA5Qedf1Sy/IlHDEnZ3YtJy67nJrxpQ4qJnnWXhN8X6Z7y0haWAxKVaKi9XI2fP1G7LlZDkXawNhBPnf5QW/xws1RXaWZpH/hhnKLq708d4xUsZtAYYl2gCxI6yWVrO0X5CYpMqsU3Xql+ymUFPcR7rPZhwRQ6f+7/wxg1M7/bQPx8xoKWNnG5l7rHRkoWpQRFNctsUZQnL00VmEFiNq4ZjTeYi7hchvXtEYM88d0bhnGFiLU4hcaW/2YnLJYIAZ+ddNSzPxIG/0x+t2gnapfL0C8Gx6vJnmELq12MgyOvXILJ+A3y9V+Fzkz0MSEt54shrvqrXkijMENNDwCNGUgPJ0YsPq8+CFZ8PFRQeGdLIDMdolE7ojgZC1tl67R1AovEJ+i4cl2gXMeBejTKCbxiGenUSOMzSOUxTWb9LRqyiKTF1A4+B5xRk65kg6S0P8VkDYLasfB84tUPVIc1U0jl1n/VAGbGvGN7d6Uad+fpzWZO4dA/9gwVUEVSCi6XDiIHTxZY0sgIWF8i+c8ZbhqHOPELUR9EdxQ1oa9PSFpWhdZuuEUi6Dq2XioWu0adBRz6QMaqyN7+V1abx15l5uaPPKhHWE0xcovnBmUJkm5/+RDe63HoPBR7wZ2PWXbuhk1rZtFX+qHFKZ/1a5mhqICxvBTbOkRVBKXgTxaVi/ecNGnPmhRBeYDbRgLnxO2pdtLvl3uQ323anuwgmni0ekEnDcli9irPjmlJPkchjf8EsUMCzc2fPaBtiOIThHVJDHynFTSeqSTYzbhsXqXnPXXb4KaBzzpwuR8HJsjExNxGcMxa5jDwqLHQ4SUBhiyoYT1VKTGk0JmQ4caBfXKH1Fsz9TCEfF7iOlT2uXYuw/tN550k9267RVRDuS0KatZkSTlKE32D0+wABQY93kucHHh97ofaLjhaTRlja6He9V2Tq91pTnaEVVJkW+SPnxrDGDIDDS1NZOQJMQvnL79jKkkfX+0soxGhxSaXWtaWZQ3yu7O3oux9yyByqV69QVfu+0LVRvO+c8jxz6L5LpjNdq5rRX0p3vC/hMt0c3CZWkZeD1O+y6tOSoTihmpzXyyXdrRs5bzeZ42Ou4k9FPSm8gkLJ7E6iKop9VH9kKVKPTmJ7sZZWT6KM9g4/vtOg4LPii4FDr3++h5h6DHXyAyg7DYpCb8AQj6oWAPrar/d/YT52CXC/PI2hoirWRhO21nbNlJGZQg6gO/5ahtb6zsTG4Hu6AOx8KsqR5moMgON6xb496NgvP+csqspSiMOwarAGKFuH+Jj11JoOUiHurlJBC2IeVyw967Pb6jqrkRPT9v7qlSME9TmY/t4QVNveZEo+AllUm1+gfJq8dZzkThIRCdSjxDzbHjIBtosRxrwVaVJlBAZxokWY2KxA3UjX9tJz0wA4ewdz2C+rfpd08WAKSi2jyh858Yp0CEy3CTW2pSAqsoCVhI+vq9ql4y319FrHd68OK/6cMTqRxlFpPU/ys8aIaas7jBeYbCWxGelVazGbChuLPuJIMC7bjVcQnC8CdKiVcWU/iL0XeGiJ6Sl+hpxnprA8mHP4Ss3kXi0/bYzs77AtM8JhlHQT6dgC7ciq7dE2xZIzZLpaDpBqklU6GdQTxG1N8a1tnwCGsygS9lVD6DYtA17wZmay2eYSoyFbusCj7v+rnZ/dvjGxjLbW7uJO3+W6S/wdjHcr2lWx1fXpqL71d0oPxiek6YoNANOxZJbyJ9FNl2hE/OILxw3aYXHQy+h/sC398jHurdigOcSqvyj1rTeNQkJh4a0POT24hdZ7mVaeJVG/nd39xF0zCou2Y/qbdNiljmzQLdfy73YKrA41fJFiClCajabPuJmTDRAVSxvDu7c+RiNTROI+glUACBJI8wXqDINDEvsrqLEMAbSWuEmDW+W9dhrNj74H3b223KtXml9HRA9cnzgpYbJA31HrVxnttoutHlxCM1FO4Wkk9c4Csk2qmDJqQiNiCwutdns6xQp6BAkPw8kzl45EK45gk8mLBIFABHFnJyD2vJOlLYjDgG0+efCQ2voKKRd0+ldSWNEC+Plu/8oV8TCSemnKTQpsEQnjtKPcM2qjew+AAIJXQ3Wo42+T/3OmpHsqFiLnwnxGT2Iu9/9NDGOgZPnNGZ0Y7EOy56tXw7KARlnrmG3n56ESrG7b0EuFyyvz87ippv1hnX1spOV5AqqxrjbKWcYm//u2num8MGm7YxKKvEpCAj7DbaKE/grILWH+yo9e5psrlvhPHe0BXUTKj8pJoAYAvxEeQYisnhHMlEo7yz6cFRDE4kaYIlVS2is9Bly5U1/ZoYB9fBvOwBuQnBay77UElOGrtSV6362baZl6y7ncP+KkmOct+idn+MO+dzryRzPVS4HMl/rrvnnu+XTtUCpJKlSlSgP0ier0z9XBGR9uB7nv0aYtt31oMpqXQNBwaX5qmV5u525YaExywmNigqZPVYXSt7f+VOwQcTlpKvG6+sbC7iycJ6Cxb6wP2/i5HiB2HDDBjvx3rbsy9Q3n1DTsXytPLxHGm+WIcRn7/dlxKQu1OBKCh49rXG1Y0eqybCOWI87bC41AX/SEWZ0gMXvkphcs189vjTNT2BKAmt/I+jetE1ChwiSbGobHrJ9DhrGRmQUwDJpWMADlfu8y6ZbMSGwKjTdJJwMxkCNUV7IFqnz90EnLwzZEgOkWJ5V7k/nUtcvl+YtuYJe1rSKdxslNifNmL83tvNMtUUA/DaJYj3rNPsHxpb7IW+VTqPL1JiyOI1xJTIBqaAqFV+g3R7pOBzfNAvaLOo6HpF/iAbU0wEPDVoWN1aY67zXQlCA5l6lfRnSLsAOvTY+Csz287FeV29HOeIb3kUYtyCpUOvWgFX9IDhLHUF44P+AK1QZnXgFqxBdAHDX+LDC+ov3NBEU5wN616BO9+fdmP2Vos0MzVgSm9KQ/HKpsNeHZ+7RbQpfevVwpX6+0XpKxXRgJoaFuKGg7V7mlDCIiH0cae2ixX+PKHcOFX9S6xSeG1dJF1nmd5dL+6qmPjSwOn6xL1Wk1E2p90kXPF5+qyvwhhvD2XZaEWIXnNyI7TjIo9zmyVO2/FSL20XQKEEwKZ209ZQLUgo/MUb13wdcthRmphxLYT2QG6ZpfbNx55ZHDUPpsrz9qVNM6bJ8RKNnGAeHr5XN1t8I7luD3WNyD7wKlh/y6z7w9CPXB5adQQ8ja4IkYOiguocZXe1tjrxth7neiYAJXnqjPTUq/5TS55qfViCVBPJA2gtdRmKfW+prtAHyxgv8EMHMFTmUaXOzXPmyrvCtoNk+SUvYSbZL3UFaCTU8rBlUT8U5hZrB3aA30cngUY8RRUKH9BVWnFPy/z82TsPu2dZ9GclNTum0il0Eg0DInMK8/YbuHtmOTwgqUv+/QwvH4sgPjIfNgEhdveFUuKIAbvC0GBMU614hnDJfjTVmuOzZ+0LKOo2xYy5sxq7IHJ5bwELZLARenBttPEVWZxL2CskfWMGSctOU0zGZ4cZfrz9LNiM0WaZ7O7x6yAbFA7mOq1v8R/kFORnQgObgI65oBLbYilWR5hyMh20B1USdK0C0aMGT6Gopk5LLagC/zZyXGlJskfFJbT0pm9bGIk+pCbWiGkOOm6Nf3bm9Y6ZVi1KfAPsuaeFYHxU7/J5GYxNMWbU4W3/OeYZpg29L4yvk5cggLtHQQAFEc7DOObAeQw2GQ8zyoN9reVyefW+fs27cGxZ8O4xSMafIJvCFsCfVlGh+5W05ZBLtin8ytx94iM1qC8Af/CpL2YUp+Tb/GPkgHVz0UmgeZguUaHPcpbt0PTlVzmeM45zWX3IIES+qA7fR1kF+J1TLgMosm4M4FRMQa2GETp+sj7iRZ6lOB2VHbzkM5obli/13hzr+0nU2rUCV+NrEHverzCz7lzEhS2BfR49lOwBrDF29AoN62ArAXTRCjZOfBArEuMe+3n5FvDZol0ruPJ02/0WSJBiPA7Chvsskyxp7oe8WktRmxr+GsRxskHOEDByXJXpzJ4AgNq1iIX5N+JJJ8qbf4eJPm6w9ZZAQoagKAiipYx8Vz3iDLtwIY0ERFkJ2P8IDUa6kDSOZ0PwCqfSxltdw5HwweR2ZrV9YphFO2ja6TNCkemDmdw5BJeAtDeoYlpvpFtdn5BkESEbM2MGwjRT/wYOCC1A3Alt0/nOiMgCISCaPIJe/+lkcawEN/+UpP+SjDXUNPNXEHLQSjCU7w/BrPXFORva2Of1kTcj3cAeuyfD/Qkv3bxHJ/BMwdKVCb+8QDoZsZiwiU/WsjuCSsPritBCDVT/B3v5UGZR697mSf6HfZt5XrtD8UJdDOjtVwlSvWS/SR0+ezHyJW5AcWOmsScuoKG7Vh230Cf3NUVwXEGQzz21sC77+rIF9liPllB/cNTo9HGo6t9mdgHXn8yLwY0wshDTfpS79eLh49uZXzd2AON/hfrbDKWL8LDScmmboQ6nR9H/067y3aTvUS5ABckYfktRJNwgICFk/h03i0Xu8hsJ9gYz6lbS/wkfG0c6NsDeusYBPKyeGvwZ27SiQC/C3Br2SjEg+8jUxwp/dJ6rkg4bRuPctuJA9O4UEHKIadEke65r0n67MsmAtfZ7IwDEZaf9rOSuvd6snIDjHkO5ZksrB2te9sIfUKln4N0XWLLdiT2heaiok0SwyeGiYBh9qA3bGWBkUuD40ynzGOqiR+gc92aP5SsAHcQYw/Qysp551vD1krxyEbHOW9venp3iRzL/PmYLr+yyCpJ6Rx9f48GCZccyJ7fTA0U6U/KaGtDGySq3dRds3aYi2iMJ2yvDUZm2bFq8t64PfGkA2Gzuhzm8nVz5Orzwbhy9kVmpogwaFnFgJz30euG+E/qxX3HsRFnTsmVrqi9RuBiHUOqnw1k6B2WOQn+OgYNNrJZb6IEIqTclCQF6Nj0XIzYSWgfSgbyvOW33+2tHaJHzbjwJLaDAvkDlN/dhyUQdQO15w2F94VQw2Z8IxYzzT3HSZmZ+FLkdZh3NcmZumIbxdL2n+FlM3l3UuDa/xjULq+1euv+0aCnRdp0FhSiNmOPpLL3G5eHbu7OrRAnb1G8EfyyOkYa2NbsNA+6HCt7QL4YfJAWE0A+wE4JWpaDPdvMzRotxTdEvgGJxk0em/1zm88GR7NHVWXPHCFDmkeA7mPu6Qs50u+cVrwS+VoYMNaZ0DDLg4X9LYHUBrmUgwVDSf06kIOJLDUz8KTxpTS/D8VbanK6NmUJ3g4Ac4mfCUrQqvNdcYXZXfy9S/i3lR3aMEzy+3Y/XOKNty34HlPvNTo5Nl1lRtwX9nHB/GNlLS9zjnFbQ0SJ4zm9jKolZYL0FwCzPTYoOy040llAdR3fr2uUBV8HJRFVr5YVxRtse/xkDH81607LR3/7nJUTYQUK6ZCb1ptKKD/veS2NtLaptBtUPvmY6/O90PjK9KVaBjJT/S33DygJugHcUrcpRkAtBuZYI+E7tafYYvGjMVrZHE8SYCka9cRQOGN6QmPwB3gRAt2NdzqVbWzCFlhx8bF5p/XfARApVurhBxNgHgytyr9/H3MyZehmet+D3HmjOP0w0UgMYHUOtg8WoTl+i8RfEH9t/hblhZjaMBfdlr7sUPndYhN4a01F7AdGBxqDjbLpwP6ScmWDSsxCoNi4tNbGgI7jfj29MYVVVw2CvwWX4/qFcYRK05bhH74pxBme36A5Dk9m8XERpVlkxFSSD1dTcZ68YcR7RJ6ju/vH0XafhAd3E4r/QsZfo73bNXTzvfZZXRjn4uzRvOljUNcfPymwELqB76DKsskwBygiGycXwRHWpPzY8Bf51ayvb4wTN8I9TiJc7EAnuCIJHIHjkN5Ywf4Y+/ZiWxNdTnAYLbNzIzbp4vgKThX+wFgj+tZmAWiKfJW41Mm5/uycYYD4UgldI9wMX6428Wo8vMLuqSXfkZxla6HDrXdz5+SAeAWbJWo4TSKQtrmwynk5m5oA4/tN6WuLu/vcVYh1PXe9PTuZC1/T4cZkCV8QJQ3H65R0U8Y1N4iHNwRdShUJVz7BIHZudaAAJ9g8N6g/TZI7MBUfIN5J4DsUhkRJ/l6xACP9FNJvJRfxWMjgIUV3AjTR1h08rKmiKBasOHMRI+0eqkEICFVeiPrJtxidGa1RjPMTvPgVaRMLzUsK/YL/gaQRnmBdLpRCBBcLiOfSYC9QcS1qcgUpfis+9/F16pP244ARUppcHsZ+E3JV6rPwqdexl7ns4uFYGUjYCvSgBosbKzuVl0T8c3FrWMBvJbqTxOkqMgs7ttxVywFiQxb2EkyYtpZioJYZkb5ZLn+9ckLYXSN8CwZDs2ftzqyV6jixqzGXnYZ1x/dC67aNqi+wTNL69EruwUCcSnjKhw17EqvAwZH5c/rBbRLWIAf9QjLcofKidZeSlwQAlMFvWFkASzTxEXYsypKD1YvgO4iC1Xqtylr803YuC1BNXUYayVVY9SwjhnrcTjj91QF1Jf9nraxaATgbQigJ+ko2pi7UyHT5Sxx3QhI0fouz3ReGY+EodOgGkRECQXgE9d8MD114q7s++/yhc7aqUKZ9fVDu3cSAwdjfbnKR4P6D/AMg8zkekxQV2jrDevb3w3A9/2xGiidMK7uxISZKOF+4GhN6HK0VlEmXV51gzuxvUVQX0G9nVrgVyyPBpOvVZd8+4K52VjW7tad4+ZmPnaonF2GHJoRPRFG9qOymoEZuAW6YIgYruprFiXb8VXwiAkOqSzDTQZvXbsUJziE/aJU6kWJlhEH8LC1R92YxFyRSi442jCUoN59mEKNXH2JW4WaCC0Hvyxll9wYlItyb2bFI5pNfWtw6bUuMOIvFEHO2hPIx9vnsgbz5Gi7qw88CvwqyjFZk3U5bkL9R3IfxYJWgZdY6WGKZWKPK/guRf4UoB/RH8HHWAq5i5tzFD6J7LMM3p8cDgjDK1pFegMbTfv7xU7w9ijy8md0InPfQbW8CXOdzQOCFsDWkH5skNBLO6CjBRkm06pegzgkAI6p11cec6TzbBB+4IGZ0Kd2jnYUklnQ94Ty7JFkAdx0rWPgkuDnqhvormDoYfZJCHly/8Ppf31LL9NaRs+RxHYZTWfMoRx1999Ghz8FnbGvkiwXUr9VQUMfjvp6mEFpjFP+yotWi6WwdIK+n63ytmnoIDEQ+IiTMcYNCKDXO1AAeW59bhkC+q4WuVnzvGbuNtvV0BGbgHjgCKleHZbC+V1tdS8/g5pkZrCkaHTbIvO9tFPIIXhTutqJe3UQaSXTUHDxJT0hv3FJaSvBV2T5LDh5YQsSzx8Gv6qY+imHye1enW8r7P/030ltSt1Sr53GTQYu6s1jG0KoTxc/4Qg/74eT8ioPM5TTcNF+WE9qzNgIQV69LvbNchCMEkBMoYSqNnL/hnRUq7rXabMevttM0mnIhJCpnQc5rZsiyuRKi+aPDnsFdaIbbm+QrWNpGZUQMGnFLUOOorcpzum05wEGcOTjcLpA8pRaAgXMNd0ORRLRP0IM0+WZ+YmDuYgbM9sqpBgY4BoAQEz3aVe9WhqXKOEmA9C6u9trnXSFWRV3CxmuEER9pn2Zx82vBif78zXV6YzfA5j2vFVJh+vSDD5OgPS9e48/CyvVgw22uZLfy2hoAfzhyaG7XcP2nHboOMKHV4ztwm+Foqs1gLHHd/gDezJIOMppq2WoRGp58pAqfUILMiwP3V3umILDSw5DPdKcsys3Jt5IP6JtuJqYklk4erVsfcweVZH95LUlPCodh40cdiROZN2AZb/X9UWAQMrZDBXVWDGknN8gTz6l3GzPUy60bIVHUcLhqEZtz+5Tv/JoepRprKGXLvytH2zElsYZZgJd0+NIlA6SN/w2vUfwft8ElGKZrMMVyieEh90SX7P5GBCpu4BCdkJ1Ga5JdvRmWVljar92GFDlgBd3tccI/yLJ0m3JghY4ysUa88HQG3axRBut2TrBeqyAPiWcpQbVykaTnwX79zM25eT1aYOGpDkGppMu/l4nr/FnB33nQgiRp0WgsDCUPhTMxSwo0XZTFLyVUGlf6c21QC/sGT09exPZFNsR8BoYfJKHrjhFnlozyUA4+tR6vY+MoK5buOzl38atHUEFOqr1sAxW+Lslx6vsseJVz48CyUDhgErkUMcMDd3k+4Bvm5tOgboSTorUrbhETvWRoDf5p0Y12CIoEtbwbCaqMAbgUTedBB86WOutAKc4T3SQ2I1QK9aCv3AC2XNQiv7a+PNKoXywxh0NtSKNswHFynKtB35IBwWDahHZlEHuxzHT6KP2uRq3BsFB+mJuYAqYWXoK8pMmJiDx4f5Wv9vSgatSAaJe2uvBiSFRkbfM2GxbNi0usQFK14QvBJRthyWSE4LUmabqJA/p7gkLZn5UaJqG01i0BOYQGT0fj/aSKlL06slomQ/NOegvoX26rqTvYJ/ZX3PkaYAsVHp/8q32yBqg/bOuzGvhA/cpt88Rr/0Vl+jTi4CTBQduCgBwHsJRPM4CVuMtoZdnxLWX3lNA11+jXMfDSS9FeJQnQ3+WKvvnyzu8ewb6Nth7yUP66g+tbVWK7r5dLmN8zkiVGXFvRLIjRTIqc8KUqtjl++c3th08GBkFOmAon9qF0CswLptWYEnzF5RgTUMOhGwX9QgGxqryM/NnLhp6crSdXXuHgQnIypvyiN1elqlJysJL+MHb1SIJ8j5i+LxmodEqPdF2FP2WY1um/xPO4+Ay7A5ud6jjuSVODsfA7pOsneLMXhFAi6IQHZFppjQJbE3Rq1C4JfAAwquNYwRytgq3gLVy9xRTKc+6ZMjDBNGhg4EPRpGSKFDx5A+aepyu23sz8go4nF0LwGgSKXriyUWixpHZKWg4Fqubg0mpfJDIGJWT7/n2v5bFz1qzlsB0xF0WnUMazn6ft//v6pqEcqOaPiTDmARXvDxMUHtKtzPQj8rwPiaf0S2NuxofxfJA8Wa5FpNTx+KY5rKnMI0WJJJbxPq7TGtOnNZw9cZnuhrP34gR7gC+dRbi2KEHsPr2QZeMt5VJNeX4249ZamUvCIKkjht3wzUjhJh9QBaxF9fnTcy6RNHvIKjAYM709o4KQ7151cRlXQqCGt75GAMvz0FVGTw8sLE0100Tx5kMK3zfcGXb1VXbj7mRWkubrUO7vZhp76gzlWLj92c28vFVlcM8m3u3qAen4mwgt0cJYggt+8yFK/H0dGwBOJoLZHsyxz4Z4ZnewDAMhaUhT67xLBm9TmJ4ZF1jSyxWWIdw15uCizUuYYYy/S5MV2yAz6Pg7nvmXtFWrcGz28tQE6zFd2ge9oyzemQV7OGIscsQrM0AFz6a9p8Y86JoO94gqT2yw+8QSO1e1zkRvelGzR0hxwZB45FPq63rD4rw/Zzujt8YvrpkpZGWMLMNcL51YLICECxXT37KCXPvf24dNnU8554kLlwGZeCQJPxhrH+UUOMbYZpPH1pccR+KTEernR0ZBoD8xPJnd1a2Q8+ffMQK1bLP4BxA2D2B39u3IzAJpYxjDSbYOSEoM7K+/pT8Kro1Moqm3dzNcUOXvYy9Jyra8TnDZD7s1vQkXA+LnWHeWHd6CskamtrWrDLn3yjCbYo5YrulHOaNGXuYjH9XqII2n1x6MUz1FQn2jGuX4YSeybsoMYrKIhXv/+VrkrY+h4umerP9zfvTxBdEflwqJ3zne/tiyIe22nI8JyKsifOAHxZRsC+8VmbGX35PH0dkThRZCRDFr5EvkZ9Aa8L5zjOZZlMU95ztwhl9ARFVAtVneZVv2304Z/x08pkvlud/EH5SA3ZWNbAxx9kwO+gVQbx8bVTQZ5bsjshlatYfg7+YVzDto/aRFPphfCULCVLnLMuzjHHXXihVmWhkY11PD6l8Lu7c51egi3o4MXJ68FD++udF/UvMtK60oSFR3CxbKV7yVBYwSCWPtmvlU116PD7gnVVuAfsSWdDg0gj+zFGKUaNKVYBOyE1XOPAWuDP3R0acy/byLYc5Xn97QNQkfv/MFVMb+l7+aD2wrSGvYxyCLEPTYYBKCuq00kC/EKpiFMhYwqaOaEyA4KY2Rk+xE622Q7si33uNNPTaKGau4R3k2ZM/JWifD167Tzeg+v+ZY31iHrGnW1rUeBTOwRuzaLdSDyrLUeAKR0c6gU4KDdh0j/21XSchCcpJ9IDllEx3coKkPITU6k+XEA7xpaa7eSV0ySQyunohXuHpZtL+WkIvC48bo9qrEB7afrSvKTEQ9kyhPrvyFD2SUpyk9uAti/AjfrqXHg/7fzI6MSv70oFcCnYDp0DWDW3HZ69b7wMjBTriCsfMepbgfpWWb2BOH3wQ2GOFmRRmq2k/KhvvaDRvUmbmeK0YnyeGnSHAHZ/n3axTwSApFdBF84lPV6ymVour/pdOUMjeynmzrL9N+/LV2qAcwtYFUcz3EUHxQC6nFeGMt469KfOBtpc9X9x6oA56eIgV7ADOhr5L1DzD6A6wI8MbHfDdmNE7fJ+Aoe9QPwmA1JDYPZO98sFt5sXqNqO"/>
  <p:tag name="MEKKOXMLTAGS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U49qDHCcFuAJE1Ommi9A8hgj9S9vv15pmLNceLB/THrU3NTOTPKzbeMjpaLhvERb2uf9Jbmsy5nidA2Su4kjY3HiyVtJH/hv6N0kSR7FP3DH719+TX9AL22Z8l0y63fglvxgEthdht7VbBds3UTBy8z9xbCfZfkky9NI0CsYRfZ3mw09UQBPLnRj+ZhvG6yoiTGa5BS6lsV9kHMoxECVGvz6JKyqEpBLwnlVyJn47udDftUl07tM0IDHnh+3MppUW8e1X7VVVtaX5zN4f+ufKqWbTillaInjaJ6H7cVmYiKUBgKvQvm6Hi6IjNRAyOFRO19ho9ULKwaRmeiRMhO661CsFm6OGRvieDXFWWkBA5e7C/oshIsenBEB8LOvGmhR9nAPFUN5BJY7CQQefvYSFk4omUOzhW1Iip2DRQBYxP5sOual1VoXDctoAsdVKxUO3OR2izoKLtnQl5+J/0CBMiymd1756QBULtsjBgV8FEo8tnPG4dLh0iug+5Sis5FleKdVtRU1Af/N77MpRPZNTwLVkfbAbubuYLf1gTJ5wQbKUYySjlKG7O81mr18Km0uff/bT7iBdfRZn7jedZ2qXKGoIBM0E0o5NM8ElI+3i7GHnXY/dcd4b5p7zSw6R7Y8QOlHRPUQ9b1pnt3aMhn+qB+ul/QlDH4GmRDKkbxP9cAjN5jBA7p0kg3u+KXCC4kuSc4k8PrL+j4bBlQ+YJrT1Auz0i1BmSxYs7ogbn6kR/fzfPBcqXeU9ZwbOPds2TsKGgVgNse2pgSz+8mJzFepwB6J/m3HlD3jdPeI8399773WD6LnJAQBfGm9QfAFdGFC28P/I5X9oiLVr/ewKotR3XTs4QVQUbRXeygGz1ybAB/oqYqT2rEKpR6xWX0R7agKiy5V1W4hPf9wO3QGux6IJSVBGh5lBeZ7YJS8jq1eqYlzIc6ZFyWpYXTcBhYgmJm2G6cNmQQBQ0MpWE4aXc8At9Mi0ORwawvP1d/ws1DAnnfkcDMJPLg3wYDfS3eyAX9k9fqMNowC2gzq/DBaZoAVpAG6UaWQASh6XReXPvgHt7xapuv9i6Ybr6rF1kLCue8osFyNAB/Bzp9VM6XlpQvHy7kiRHEJHEgsy7BixZlfoZ0jFk6wGrweribSM2eop/2kZHqSKhSCmrVN8h2Rk1CwOY7Q2myujI4zX+JexgKv5RbEU0Z0qI4NIjyAlO4/O/yYEeXgqVG8xbaTGjO29Zfif4SsnS007ytAnyuGy5n3qrJnGjNZw8wFT/dfwFMsnFwiLRJ/3tBPh1jhz3XISZUcbr3TCkfBmyQ2VfJWVA+C2SRnaHqMnDk8JTo5Q3MEwgCTGgxrVzghcE8zERn0ggPhxtQx+rTqgtHCBZB0befcEPDAyzU+k6DmiqWGpSHH6rfG9zH4wJZJowj70zfBb36pl0UspqMoKBj/33rBCZA0Umey4ll9+/NQHDsMOYpAAnuopt5eeFIeCzmT1SFYWNuzbC2CKIx/C1hRUInvd0Wc0uJTec8vMFL0FVV5lfVjK39ARnpSxFbBl/F6qM5m7UuVYdNI4PyN8hJO0Qd+TARBcIQf9WFvXX5Cizy7lGuexUP+73vn9gmGXVUIyCz9FfFGXeATx1dgvFofCCMfogSgo1mBlAG3GaYF8sA0GxrPU4G7jK+d2AZrsqXpoFQ0KwbNLLM3FXCGiCfnCDlVHdF2NzdJ7j5Bn79CkZFJhuczSTd8toap2ZkgomtXZRrjWTmrPDWmMuBZsbEfs8PtH6a9IUn0epkFo9Aeb5vz+jwl4iRGom33L0gyAm0yPISSABLUuwUhC3nkCNZr5rtJM2Q7cAd/9xHynxdqei42wvpipuM0SsfzGz49zShgqua3Aza/+CuUVdli+StLaN3owQDIsgFvgyclLi8uIXnhkMn1yh8FIseVu4FWEe8prCj8S87GaLbGlwiR9pyufIiPxK2Y9GiHriLCy/oxU+fEArMH7mSO7QwXpRl7BpUIeX+Yjj42uYfji71Bgn8sLFqOolLVgWQBj3fup67XkIdjICSAZ32RarVlGBi5IWzzyJyORUEHdK2wAfUntaanoewKkgVMvzpeiTM1mDWVz8tGiHQe7f5t/B11mzRsOy9y1RFeXEAx0c2D7bGvKBF65l8Skcdoo2qJtTPeFQui0loYMjgLGbUZNEkWN3XiLBaRv2i5noeLGRK+E4Cwr621XBPIxzfrcRc8B3A5UoOqrnNbBhdRQDi5pxW+ZwHhVAC4yyuaZnBq3jwptwY6eNFtoJ/e11H2JneftvPxvZX9PoHZLehIe/+Wmr0z+KWj18k8B+T60AVNUSRcwOv4icWPC/VYu4o86pME1Y49fv6bw3rS/zfO6snVJXqZVtNTVym6boehrijavj+TUHAQz3YuTx0zdQSGaKPc1/LI9sJ5vioKCS4yjAjBZlIbeCg5m6oYzCI9oiVEm2z6XiPEk4KTOUE4yVQ8XrTmVmQDExuq+tOKivWdXDc/9dmZixSlpx8fwbW6+vhjcXYEW1YxXxjUGeclckL6ZFz10hVvgudtmMEKh19MmS1AhW7flQ2hfn3//cALXT6nFVI162zgV/A1TZBoO4EasmNzSQJgOIeBTYPODPzG3JaA/PTsexr6GoLlH1IbFbBPvvNVRUPFntDtFP84PGqRNS3kqfjIF4ILJWds/1cU3Wvy+45+LfNiZlfoaHozRuSeZG9Mc/iHQ8tAU5gR5qaiU4kru7Lj9DAvSs5QG9SkLj1q0QgEeoxG6bWZHKjswslSpr8Uq9j8CgfTaGBBq5RJqXh7uEDV/2cm9pOoEDVQb1zKpxFRzHaWUa7CiCo7hw2vqRLrUexaBZ49y7tcA9k+tYp0VljxpTz+ws8xjD0EvmRSQ1Bid+lCzTRXLEtfec2IjgFRF60e9/vwY+2MsyZ2tF4I0cHX4c6WvpN9ItJa9LqdcHi+2uOIBqk21q5qJ7ljpg9/5WGFHewygncOIksWbVwDCntEDkSHFidTFNITa6S1lmJ2jAc7gxKaMK0qXDdoLLJXAw6mFcMxRMQrhrD+hGx6O65+MGUHXvzkD46O24NOy1SRc9bR3hKYqteSkY7p8fk3pfxATcLf1ZYJHgdFhQ00nKugwESiynfBTgPCJ0/+csx8y/A5YAHHjhQI43IwU/DVrpclVHkBum1h5WglWjtnYMczzrPHnjLUVJBomRvlF5oeQr9E9mj55t3Kdpvm0qI/loUq1rYTyZtAqXVqH0VFy2TMrHDFOh8+tqA3IBfzZq1VBfTuB/Ee2FDpJQY4vDGzvW8gRgauPQ72dv0auRRSXFspEKxrQ0sfkfzKCZ2hlsbOlEnCNxyNickH/OvGVjQ5AdditR/rmjXuz0DRGKoyM5Gddmn6ZkPHe7RqxMsG0oIBJ2gCgnx5aJd1UEEYMFlEp8FkdnWZlmSG3kNt5n/Fu/ztalKhTJCoG2VTxFxO6xvdWeeVQfy16hOaSTu8mUBSTzue4S+kKp6SSaGdfJuk1czpqcEmJ4U7u7TBcBpjQj4TPXi0EzI0Zqc/CX0Sp8jcYaNQWRwwp9iUA3yk+f6dHRND/4XZsOlEdMCna88lrak+wFU9QdPJ5fyTIUZopCVaQajK5i6hG7+lBBlVWiuQZv28ldqbOfP3NRpnuf56vVPcrm9y8l1laGus0VarJS8hFB17o32uLEmervjDWDQE7BjDqgVDElEN8DherDgYDs+O7TZ6Q1zogtnQn9Nz/+GrN0UA5Kp/R1HFHmdC3ImJ4LEhsOqVGaTRgxL+VReoDAwHuYTn8iudodQEsi9nGfiuEGPlz4L9WjMLryo4e5jOmruXmBqECmm1Y9DYOrbOHXMEGm/TUc1IDWXRd3mI20KiFZm05c/4v/5sPp1BZeBbIcQFqX9sZMibNpkIJMZmhQeyoYOH812Ea6V1lAORqpd1WZTp13ifgRbxAKkYmKAsTI5lWNLSHFDpdVYIcD6L+IBcGZ8n3PWBQ2hziDdf4qjfzb8yW0Qd+nTFiD0i/4ANsCzSDh+PiPEklhXv3aDzfSOdW8oRO8ZUNWTfiKmP/KJvIK9RHeY9h8yPW5Qx3/9TwMVsN5hOr5h5EEZkZc3zWr0wmWp0n5FnGVWO/hyGBF9UANphpDH/bLW+VKsvqDtmREhKaldJR8Svl9n924RVhtu1VEmacvdA/w081tNPAT02GM4+KaGrqzMlqnAUwKQ+1sg6lHAFrstgovT9FZPehpb5CCJd1sz9sevgxiUhIahfHYL6zEIlZTJyCMh0N0gA5aDi7K1Ug/Jh3Xj4hENTBd90BaprR6jKlHdhaKcItxS00OZNWk4o4i8AVvSEcfGWqGTrQbYUE6IKL+I2//mbq0QkRvTLDLtRqFhiaNLbffswAJtRDPpC3Qtt7+TBikfuc9NpZVNC/MzkXyu7PsvCBdVzSjwUlWyvgonkHCwUhoIHEX1+V+iWrAlLiMO5IQFZErLEs3JVX+TQQRGQtInnYg3fl5JVQbnn6xFq/JULkQigbJnBLbb4/jOhWufUZrS2b83/O+2EcUqHXzZEXWer1yQdF5ksonYWM1OS5QeduYOoxj5oEhFMXHs8xL1pPHUwsueoQ0HuBsLgr8hNtHIqQOKqVKSRnqw2XBOZRKEsktaHjVbgFJBSckOUxrg7v3jt+pLWe22fnfCboufIst9Lrpb4q90baK3wo+83vgPnW0vYt1i0DDrPT4iExvrLz20niijCVB3l7dv+cD87TmAsnOoux5XadehACsU6MYj840vJu9MtnAs6igyfT7azrdUeLhkuLx3RtZNHphg9Hi26VqaO/qGY29K6QBXXEQ0KSwZM/aD/xITanQCHkcdzFRtX5/rlE9Qnwcl83rJ2Bz9C6wVyP1xUeEtfAG1LFsrTHWEb1uPZsoeqgBXN08xLdHJ5lxdX+/icLaoxePQDVH6MN9csiDO9IVHBEbpW8o/R3KBDZp+yc40m5VajeAJj9E2U3/CUg6aO3HKE8d1+yZN+93GS6a90PzY09QTkMq51cadKf6pVGEAKkSs7P7X5L6f1dK4QhdkV2XwwBNu0QCP4W/TI7P7l6Mq8epszJkXInnS/h2dVqLOp0Gh2VmjIGsxsShmZsGI/LWj1GEpdN/xjvYjBtMPouULe28VYgMgmqH0TbDbUbEBWXkmFkibSN+TGhlPdp4ohpHtC6fLkw0/E23C+GcnFXtBOajZGy9RtbZF5b+bP7q0soMZRQEdjxODcHP9bEdOd/833F4tqjqmlrI0C3N1qMeiBCmhR0r1XgNZc7/Ler1GfDW/6MeeiDaxWkbzFgAZifGqPiJ59/RP3kVXajOR65xG8cDneo137Bu4ld07AWI3otpiEmwDI3tz09zoc+r4/2y6fdAmCHJnORyxKCUbKWqopxhNfSF0sDSEHF+bSbCHWgGN562e/wPPHCHPYfAljuKd4Q8zUTtODnz+O2WLVEXA/mvfReODBDJmy0d+sl5JLIKoTMUFi8zZDa74LY0Nh5NQC0e0HOuFcuVAKFyE/b+U4+3pqZlYgRdRBPGb/gMf2yH/g/tfAlkF8I32XQfHE6utQ3g2YYcxRrSi9yaWgo6oIZu9fi/dB0G1fLTkrWx/muBZ+JjNu3dYk417z3JsDjO6iXCxXOpnef/NGc414ib/+inr0YyD7tzgIBtvpIgZBOo2uwDFaan+jBaJbeh3ijMVDRNJ4uAGQErue3yD1twWf6Ai98Jlz+7wQnkQaVN2BYiI1nGY8j7U89szjDXnzX7Dz0A4cXW0lJO2IhMz85fUBGRIO2d3VuwrkOAqbT6BdrbDbc4qlDFvOdm5wwwgOL2qD/9lxlwaUmNTWKZvKvR7jm3AWrUN5FwdeTIi6Sc3eHrkutjwIN/5q/IojBvInM8ayR9MQa0c+d74c2lgsoohqZh0cQl84Bbm71VNUvNF2Vl0WPjqCnIhIk9ouOCOxBLSgha68gABF68DUXrlkIL7kisxxnh+RZAY5V0me6WmL68pxF6wEw6lk9slWbx1KT4bnzO3k32+DtrUWsMzljy3eUJiGiPogM0pIuDg1tHF8i3Gfum9GdYWwYK2gEUSJiPtuQn1YEoz+JCm6vSDal8v5Lg3Zwx43DVUt4O6FAW++dv2goE8fa8CIPDNsX6mXjk4s/wFdxTWNpshnyj00nULKW7lxSIgR6h2p+z/Y8Gi7a/FJFLMLrXqn4MMvtw6wzMFccJq5yJcrUA8ucUs0hYRzBFonHnVHgw17pRU5mvEyh/+eQ8gk3HEYdV9uSqSR+vEhL6nrR0af4JcvC2CW7BK8HUz3LpoaWeZgxkv12QcJ7HHX7vTpWXjgANts7K2EciSiCMOE/AtNfCYcyfw87LM9wvZ+UdV4FljXkDkLiEojHWJJ+5Rh2FGicJxU601ANIbXuzVFvazAyZ1xTEAGhyMBeuNZ9beNwvjdiTXQYghusidoHgHYI2UTdYtvSt4OhzqBpdF9hVm5QZQrBLyZZhFthh6Zj65jNh+aL9+Wd52AYdr4cNXq44aVSCzxp5wHwCJqrX+tB1ZcVGM/NSXiAA476Uu+ukn6+p2wIhpHcA2AW3d0K2I/Ln0LANKQsAE9gCjewwEIcLUX+tzEbuG+NHkYJBG0928FKYOiDhVfclbuICVwBqvzD5jNckwsySxvnFZ89oolrpP6xV9r9i1w6iY+4LoWqDZpSvqzceOMurxCmFHRg0xi4Y1e/bcs88276t+vdQwcuCEx9Gf4yimvMo8dUP2EAcwDBmwAUuuX0KWRUvckpK3CZqlM6jOi4FmTg0ZKEmimjIt3DCGIlgIsOrC/2lB1/C0LAAahneRWfR54m0JcnPybjiPx6WTKfQGGhHx89vg2RUS8JluOhbxcW8iv25AvdGaHoExX05bP6skG/v26a7HNWvKQdoIbxRNx5exymJuVUvfw0xAqBmbna5MCG3w8r+8HqB4GRpEbfyshXrsKKzS70wwdL8r8AlDSoUKsY485w1L0OkgrMB5SOFTsNGuGwR0X433X2KJh89tOkZDzUweMaPrcDcrKN0r6xNI9Ru1/+9x1I90u6CZghG/B6mWE5e4Tcc6EW0ClLaAY0r3I3FFjGNVtIiM0eQdfhfUCfwNIHCHNBmAyi7pf+Tfw/rYJXTy1Nymh3quPX6j7nwNAITTdsotfquREKNCQKm2o0RLOG2lI6D8069DihyPX05FYJHPAOmbWl8ag6kklbJbCb4pWy8hiDZBXiGP/dCIJqjbVS6LCh8hRxZzLJgKrL4h0imArhufPFx84reVkEJu8w2+kcHJdysd9kn4Dak/76Xj2wybR/ucPNb1ZLTBGD5LeQ21XSQjKv17G1hQYqF4TGdZpDASNVt64ReVIQEfCulm4IBPeTFiQclI0BB82c8Z4sq7TDsbqhmakPXYm1RyVYUxOoS0Qad0ITxM3vC85ZeQbyTDrw27qtvVUX2jSePQkhb/A8Uyjsw8qbowMIxG7S5VDAIwo6XsjdHLGgOpsP81v4vaTJi9VqdXlKvxVCC1Oy1ciXmjXGyCkSsPMJlui3Y8lLcQdRUhEqwHJllgJ86Gpb9SNBsa4sFlyLtEhKWJn6rSl6w1717zLPrtFvIn4tnjygoQ6VZNesR7KXs82cQF25k+vhr5JDLlyC7jadk5ODpR1ECadQgYALVmEyQ5EukVCJtp9ID/sI0iZtMj+UEhoQTmG+KaM2ILYhckLcFyeA43HxILQbk3TOBTaW6nxzSURIfTwPBtOSGYTEYkAQSPPdMYuVn3c3d2/x7L1wnIohn+IUXrmQvwB/1uCo7KzyvDBm1bplW4ovxbZCzgPL5kUaZzPLc/HcN6HpvL+FSPF2UaerJnkZI0ljZ3TNTREApbwivKqfSJVjXgC9QXNdHDyh1JmKB+1ifAABZLWy68TQQeApylDM9O9RK0/HyfZcLNHAwwKNcB1G6cRPx8RBmM0skifnmLM3WCojNEuWLcfW+Hu4jsb5O+7rLNNIoU4zJfBS3++gJCfA1VullsgI3SAAZKEaESpJN3/A+osyDe6R57c9uNVUUrmYt5r3mWONldmxhIdhr5Z8TzTGBQtiVyo5H+algedLqXUi80oPDQCwgbQ1BmgFfHNebj6f61dPnIM+AXTxIe3Sb6kEz/cLYIHztZFvkcf4VoBiDwNQ7sgrybRHNGfLWsO9cjMW8cN3d0OHJ32vaIj90LeEvShxL3S3/eZiXACkA8hYFzhkxO1mYiDqCOnsWSjv9K1T5maO8miom/5Xqjxr6PAmYmM2f0dyE/4/qFVqGDWy5Le6j6l60UBV2E7/0KLsmpFIVpCHH42t/jvbdOcDpjZDpc55i+2KnYYxVLycMzdv1iL9JH5vv0HugEA42bA+xtPCK90wjV+PmLnHqb6pipKv1kHU+AuEYMYPwHjrvHBXGjqYqZW+EotM9cc4CoqX2p1LfgUWXELJqPiIjdexEcZ4VpKF97id+Z4slnQd2NFf+edYvzBto3UhhHJlFXVLacu5qOhWdGm4GG0Lz6YOllaDuE9wLR1KaLfu5wBkxjnL03GHnF2W19aP87kcECISKj8JzsvVB9yNgNogGX2SeOUxuLqzqv/Cf8Mu94QiFjp7ZDADGBr1PxCZk+3ZXiy6zqPdZBR07fnpvtpItp0hINBd3YXE64FXMNXSqZW/5/7nA+ZAMnFed/gXvyfBzYEHvnObuwZ24vagsv1JZ1MYYOwc6UlwSAKEzdHJzpRZPGLVK3MtEdNxaq2+UCWSGRZgYu6zuUlNrihP6SklX7ueQTmsYees794qHTd1EL1EQXeVIvyztjrVG6UY1DPEUKd7BqTyrODGTpFe2hiphTVIlDllFf+whuqHoN+lZUocohlcGHpE9T1hKzkQ6PlXWbUG7owqipm3R6IxJKZb0cRA4KP9YFBV9z3MlSlNBw5kDCPBw1mSSnihBLdiJzvPrGenbiSuR6uJN5jgiOu1C4VoIVoT2SST7mQBi3p0BK/T3C9DxGAPe5FlurDHIe+zZN9cLIFwCoqnesfNB08U0hsHNASGqqv+X1PiL2K3HbHot4bmrjK402OhUhpPSvU6uX3v4LNQ4JJsSVffDQYrMYrjF3mRvzxuv570gDOcFrO7PmFgcyliTp7Mb1+IWDcCNyrJKORHGdmjrN1ZjPW+NhUkCDgPmfG+tJAc1x8INH6DLYbucy1+kmgeq/Q08iq2cEO6kZpEeobjD7PVLAIA7Q7Zd3I9I6rHWWPAf7kl5Skb0hRRJxhMNmY0kJEmKAJoSncBHf8Qy7NG2hOyKr0gbtDzg2CJwGWYQ7cT7EK7nPzxdJXqc4kfrr477gZR7qn9Ekp4cngAtzIeTGkgpLbEQHtzQ6ZARLIPlhASS28IWJYnJ3IsNvQvy+uUH2mgtYwGBcpFHuamTOFxBwJ/nOWRCqHMz9+5B1c5lesQGJN17zL47GEqCNpa6Y8YfPppMC6boRLp/fZD4sOIwIOaW1Stowht/1M1VIfsWgXt+Nn5aVQs7BvRocNZKV562fb84e37hRt/8KWWEjpuYYljnHh97uYKgPP9merHr1Z0XklIp+FWIXvBGrQ0UOKjUrGoYQ3++pP5oKCUfKmmSsL+RaIWneu1AOJUBGdanNTO3pswpS7DYnW4KB3/dGoD0thYbIrJT0FnmsN8Ci27JZe4CQYFo88UcqBhagB7Bwz8160Feu6srBtqf+SitfZ3ULK/0vU7j0RO7niavpq1TiEZ9XPMIr0EzsxY6J0U1Dclw4kJ5qiDJHRZHE+O6PDK7HQIkfC3b5gSTFs6jjne9Q9ezMPLN/eKHHhPbax/KhpOcHL9chKmnY8Vkk3oP7fVQy2WdzmkJl+DccKJSfcnTs0AP6A6Zv1gAdHyqftD5ZKykS2rsHIvyzBitEjXROEf/syjORP5k6nVb7F3d+CBnCpzUVUI8THEWgYdIrnR1FeueOxtH7OdILK2Jfwmwo0S7VjCRR+K4the/VorEaY153NOgggRd02+AoXLKJi5JyT4kVv+h/6CYcuknWYRk5U1YoUfS7ukU+C5ypl/mtu6jyOg/Pg8uDJRRBpgzxTjhKqWvp+M75luJxh1mt7C7KBTTQ+s/UmEseNKdAcw7p52sGoHtTci2+DyaNcOs4gGYcID7/hr3er7+5LSPkdGZyXYl3ARckkZUAQcNnUApY7sILuGGgnR69j9elmD1/60WMCJ1Ljky9RJPmNpyWDI4/i4tF4c8YvHAvIL0AOTOJH68Cb5A8KOl5sXSUM86fm2DpJzszDsskbVnPpMKLRzJZ7Esa28lt2RCUrxyufXvKAvpl9RoqBqH+czNgtdr8Xl8nZfzVwkkiYhu6IHKuk3eX7iSQaSwEwsJug/5P4EWIzOceU9m1SNZ7xUrlerI34Z0v53moIU/erkkHdU44f3NFeRSwhCIgQPiU+15V8aE9SmRDt2AcYM7qsXft60/m2pFozAN9Xb73+Z2qCpP31q645EAQQsFah47LdiAh/P34MbZyI0qPfSIpH0gkCncl26eO5uPzSbs0Jn0P45CRb/9MYnI8RpxceM3CV3I2V6cfnw2xiZJ0orQnBa+ueaY33PQXMCFCz2tcyomPNjDXf6MixfWmOX+REtoazqZ9BQpYRYr3LJ1meSnJp5n9oV3hU7JAhikrsoE90dcSo73+2abts81+ojkk0IAidV36wJZCTDKZGjwU4PQaFIjLXEFHsD1pD15YQ9zlAHcwG1m6/eJdCECyPRNfHeuv0uDnzIcqqah7J/Utxwf0GMHxsrk0iAJkPH4KiJ/jOVGES+f5Z4l8E+syBJLihjyZcOW1ZTyC0jEQ56TTR8Y0SU7IPMG4xl3Bsi1gSGWJ2scoXQKTo82vRJYgrW6aPL6ZK/HjcBVeBljHt++ttcfsPs4UbJ4FBx9OOTv4V8xWHMoWtBCZKS+DTbgyFpE7PskG1mYdFuboiMm0+RNrIEZ2cgEqKD0jhayk+fN7ZzHxRT0mxG+A6xBD1+XzOJB8EXzKSji64WMUHwvtTv2gLBZCIZ01zFu1bKhj8YnGJ804lhmRYz/L5OoWsG+/sHzlgpS1yH7E5bNKn4+9TsuDQk6EzRS+nf5jrQXfuAENkxRmiNVrv1lZnDrDUB4/zmMUIPcFQwVqeckaI3yuE6xwR5LS9pQj//o1o7wfUlvWYDtqqHUfb7Hy6k76hOTOpSyECHtLN00mxXpsABHk7cgblNinN9KE68eZ+6R9XyhdwDklMfdB3CKEU/BsegVWo8X1v8OQ73Ojl0D76xc+sny0mkxAc886ftfs1j1sQOuQq+qvua53nkd60Yj2gcGHoycnBXEkKVwhWxbqd55CHjClCrwbKNcrA+tbz2wUXJGBFrurEUsos3koutfPdM7wzmxIEDCHKP2exTvibXoW61vB8mnBcXYmb/QGaYIBx0FMCioMJypgUEkgCtGxOtBnxdPVZ1ZApS9UzFuWiAfA0os10Y5S+8RSAem2vJMBfgh9/uSmdAgrMJbglPnIViwl3jK0eurAr8UINwRQIuBVTIZ0ntt9vZj0oO/kHEVXvgr1kWmemP4B0ywVMB70yUD32o6EijlNsMLTgk27Nye6c9/VOUchUXtB2rNoqzqSUQ8EMJWGxEFEdBuze3wYMtiwsK17VbJM/x+s+90+KpSNq2Shsh0v/1GjbirdFkG0B/j+utyJsra26AVA+583nEN/Z553F1TsoSn26Wei82+lCSraBWuXYSnPI1IdlKpwjjE0IK8PDBzAjNd7R9LQmAoaLB3dUMvVBW1WCHzpjUbHa7Hx01tmw18Dhdr0kIDOotjN+Ovp7qA1mXjBc8AnYU+U5/2hGaB0cYPRizNtDRRS9Ziey8Uo/jgbQJGtdj08RQ0sgqVeaf3LRSWRdaniDh2+RC7/UBDbrym6AJzFvFXKx4COhn6Q1sFrHbuEq516kyTdX+JUyThF/VEI1i4dVjX+YijbQ4GJwJL13QK5uSBYkE4GE/rWx1jX6G0jUS9U/8cpX0IlyteqRiTTToerDgWJ+toizGNv4ul8Pl7HF6B/97IFsxCzCgkepbJFLTnnSbWngohUM4UQ18p3HrPXOLZZuuwT9ekNHJn8HLJ3ROzX6OonTMPjzyWJhbWKSuQ2NtYbrTNhe5TNImkJNhSAV5ccma7UQ+0hwGCM5/oOoRzq6mauP2eLHfhZ9/bcROkte0LPiFP59YxSvcOHYJRsoOkBGhhy8nQ/LQmuRjR/ZhMEIWjVFJ+xIgINR+RmX5InEcRELOHikAQVoUR99xlylemGaX0FZVur5c5IWo+n2622pO3xOPOXoVwQ5qPBK/IExoR4nLYU1klmfN9qvuG9SRf+N7K287iL1rtAIeaKUMNsTG/IvwDqm2eZHIr1hc65Pt4Lg0KgR+FBccT90x+Hk++rgBKfztQHKO1oVy6ERltqexhR1jMnVvYfpAjwtF/PRd1Vf6Z0R9/9vXCoCCfY5hcLtGFETrF0v1B2QmDbgShiOasNiuZZmz8k7Pm0aYYNtcHdFI2gW8m2PsDXVECUXeDpbPtpC/2jzwvjLpgRRwQxeHEZNHFHsGB7SV4T8zPU3oo2UWGWnSlSXYAqilLdrWbrZcvCV93kFEgK+KDDHSjZgGWZ3CQZEu1T2Qmp5nsVrXZc6x6vSWMLa+mLwMN6wXuDsBDoroJK6YhOVqo2Frj7s6wUtu1Hhwf0kKJjUbI4pN8cJU5dbMywh8JaPp237IB7NPXXK/rhcA/tDoj3H00Iygi6rTGFofRPKLimj+tlV6Riz81jbwJ402QeqrbL7yFly5vSbHc69I19dXi1OfnCwFDzFIo7af8pNbd8E/aLfRSLsNHv0phQ0o6YE89AUeQqFxIJOmF0HW3rcYogEKtE9g8gFtGTHR62Cw/o9ckudrMBhRN7/aOOmkB5ZSc3zPZ0sF1C7wP/yRaLJ8C6h6xBexmMcVeohuKN2l8gJRP5YYul2W6Jrgw2uyC7MnZ3FWoGTG2DRZODaawQ4KtT4egwuNPL9OULwjId3iDmJA2gPlFIuGJz576bQvRTifRIUvTEWAI2QrNy3taf50D0dM209H+oN6skUH5qW9Kp9T851U2Piy8YVFcPaSr4C3T76Bxna3mRHEMONCNGpM2EC6CR/g0yYNR9IhNvrN90eFXeMVBAUxhprFC11VlZ95LXExLiMr2t9fzwoX6dgOD54vBTJZ0grBykXqghdFHia0EDewqvNA80r5yIHUVB8tn0o/TaSLDKVsxB94k1ptyJu9GPDmgyTleuHT//PMO02JgHW1IQnrMTJToykFUnOmrFDGW4Vd6yhFSUZHvuz0knrjqFSYUkqMBong9Ka5HCNaRnGdXLXJDI8X8sMW1B11xzguG8xQNw2rRUygfT0HIz55Z0DRZimO+NksuT0gZ9zJS6ylvszWEBDxaOGDyC96scEawkO7iWf4NXd8pryhQah1BDrzfupMKrZnUlMZOxwsMPCq6sCRuCxtsL8x+Ba+DzdI5QO+JCcBiZkxvf4TsSNo5pVH+yQkjjkYVN3rlw8uL31rZrvYlb9PQTtnGbkw292BnUMye0qFqWB+sGvp/rBLTPuizvdZrLYcjl1yttahvIvxFOUNXib8bnQV+OV20xZMZ3fcsjvi2mz4gQ3gbq4f9AmADhMHQ7DntlYsrEdwTI0R6pfEbGzB4UCqf9b+2foTIyP3D8PSnM+JEIZTlx6ASEvjM5eWza4fMw37TQhbqrOHQ/Piv+pyZNPYL3Peh+XCOCy0JIJY7TLTF3YTFfTWCcTcyOzU6ucKsUcWCGgMm6svxfMl8mSo7MP8kGlI6HjvL6WAnGOTQ0LH8SbcBEbfYqJAUloyQUpGuKrTWstc1QxPugHD5Ii7fHidrvlZP6VCRsPKUO8XSZHs1bC0637IZjrjMrAG98+YEC5pwuXESQRwdnRUdvjuppCkAVzYE+O8FXcLjQ7SdCUgpWSc8eAiUNnYEozw1fYlEFrcIijAVYS5qSllAtXJepyrn5Ip6gr0FJzchqz91UXQdzEKMklBor3+WM79apGWjJNNcZ1eCQBx+ubIPHWWnV4wLofc0S9cWW+nQz+oh6swRU6XM2ULPE/+PvKM1wTOuoUrRg61CqCHUQ5mfYTrnngxvIaE0+50Qg0Yh7JQxDbaq0RanYCgXpkvrT7jIADCZ439sbl8gLuHktz4m/5ii+zZIVoK6nEhcwfCP69KbkFnfKbkkkTG2m2onH6LIgXc/40W7r3HJ9tXqkDKN0KD5M1xdL/MquAK8SQ+vre3IgXshcTSylWN1X88+NgnLzCG8JacyzELQXz0qjpqVIEtcZmDeqXlupSabuyXu2amdQjl1+BZSOQb8WWhT/S2kv3GrS97Xvrg4ZSoCv3EAw80O7VzgJ6s/c/hW+kB/W3oR2zeEAjRDLEuRUinTSKtUkepv7rCn3J7ZR+MEyqSAsXL3qrlGFogDbdBpF3/wnj4k9GJaWw3fqs60llLdICOUWCE3I/g/SveTXsf81h3ZdhSNCxDBoRkHC99FIBO2jnfMdgu6Pxr/hECadtNE77Ml5ds3T5eH0t136ohc5Hz6INdd1w3KyyrjYXXCqOdwWOquYSmCYdBxT2g6SCiUwoE1LoEvIUjRKaPAqd2YUTUfL6UOdg/L88/6nsECiUpg3Umr9cKWXjXd0g/TcDKNxbppNynpzd7c3M1i0cHhMrEZgD1bU5341sMQdEze7b9JTCE+RgCq8hwxMNubJ5Exe4Ge2qBLNYN+rvE83xRqa1NSoRcaBwwCYVo05SboUv/ksOu4VrqfNw+nBypkBDWu2xtgYIdckMNzhAVTywQCh/72NMF6n5HEm9wYqeVxVRvJrO0cPadhSYF08zwrYgEEx06sCwgmGXq7XpA/0t9hmoPX+nMZn6PDQxKe7xeOS/LC2yR8bonl7Wyc6JpW09zAJ1n0mcNEY0P9lf7hK9tOfX94YUyqagDYINo3uwRdO8Lj7Jz7QVVqteG2OCnJiustQCI5gehbNAqLr0WPrz/TKJJMppWjFCNghCarCxTuectyQMRyE+4ZFT45Ma31ML5yWG5gfFT0K+Vh5d/463Hz8jc6W6na93a4x8mOUQCDVr8Nb4aYYjP7HJD21Et5fOVdd1ckfAxH8+JaXTd9uy9Hd5O7hMnaCElyNf8a+E+KIMGcCNP7rmasDrqeH0ftURS3ZVjtzF0ijElaK5qG6LOcowwtHBPpw1ZGQjU+v6jyvPboc3nUviCw+OcnbLThM9GBblqT5kVQbmGmyq33KCdrCtw/7QVxgRXzlWv/JWv6cIAhw2new2aHver76llzY3gXZ7yFW1T8TYch1PHmh6Ne7FCgbow+tOkOjJI/Gzs2Zz409YCUT6uqgEnGOlAUVOsHpVYWWXGRqUfl+hXOtCiRoxbyWJxHHGTZvFA00mBB+v8Ecwk99V8d5sMn6EQoGf/lxHvWM8fITPO7oaC6MadH8LtxOiESMXDJ7nVd1wUudrXHdD9wdGn/p676+dIlS4lxeYMeh4+6/oi/IpsSW0Oc82FejXPAG+4m1iTHIyCKksSoCCgiM7I8y8+UeUsrydhWjLSQZ3x/HXTSrRWFdwP/Lja3ne+tKG7kwUybZ1/sltYLB47Gbdh+peQ8Anb+x4dNtTkvMyzvW1AyfNaavGLtEl9MjZyAUNnXw6i9EACFM76qtxJZns6rXZ/lZWTQT7sAgUXxL6cYhuHM7j6vbty6pEyO57M81x//hE5wCr9WCmU/qHV57kn+amfHE3uQyvAos1St1GstaWI/dGtoPtI6c1NEbbt1ffFXeGZ+D8pis/8S7J1AUZsRXGqpGCScxMUM0to97tjlPQXvkkydGA7iS1iHNbWzx7RbfpddzMkgg1O++kYP30atLq5oOjAs8v7i5S2sjr//aelT89nUF+l0oORqLiK5j88QtvwdQpvHhleCnGe3x2flVuX7DnMrv5pQ+060O4vSkxOkmDZggpwWKj5TIcAt/2105qyzwN/baf6SkeZHsZz2DWWIuIpAHOxLmQMfClowSAhQjrogklKnBNpTXyjeDzyqPYYzCRkfHq1dDbXt8ljvDGkKa6QolzaNA0sSHQN3YHzcQYlAvSlaOwDPURS3NSNl5G/QM1e6Msgg2AFJmQIPHipMdFm/RwLBeoR6ukSqigyQZlx1T2wzVvNoj69UKgd6/sGwPnCCwK+pbYJO6n4RH85h7R6h+qzarv8eg5c+TwuOLDa6pnnl8bI4VxdbiFZ46t6cCYer8Qm6LOJ9J+LYAQ9LZ6FNJJq/78BuyZ1OdFLvthkBGIbQnlaPL9uZUVD/6XOW3LVFGz+DPSod/+ePzm7CxvPpIq8ovjtHCcJBRP+ilNG1M4wsBzNpHwwcz8onkzeN2wrUcPOrgtyWQghgN6L82IPbb80nWiNoqWlvwAggSZ/JhUgex1x3OKca8qZgyClwC7TzMPAR91eurkxB6mmNMO4Q/Dw6/aORAgq0U4ZOigCt+qgn7qGTbvHSRdQYoVAsEf5hZLvCWsJVffitmH0Nx5XY1BhviEbz1R0CCJaK8TpJFw5RiJA15dPtsuKWbwOwf0+wXN+ttPH2JlQZX/bZYc8k3N0sKOXdyr7nxU9X/aj3WTlQSnXZCB9DLTIgEQLbVAmABeNiATSCT6vy7KQgaAuUOkfhXx55mw5iqld5kfO9GBMP//IZFN9ESW/ru8QCD5E5wUj0eQZLq6fmou76a+90OTlK+Wdiw9mVzptaiqVWXH+FqUYw7YMiW8RqDoBaivlfIXiI9Ahu4yaLgseCmS3Sl5dToce37WO2NnfxbQJ6FWPeaMxRJE+rBrLr2wfJ9UFqWgN1bXayy8jITwXGU1/QghjMq8AvcSgYvc8bCPRBDGXiIrc724gXEfnpYrn7PEVMkROGDvqnaPBAZxEMisTmIaqijSmoAf7oWE+CvbrhtReqb5Fcil30+dPChw5ml8HB11bysd3XYhj34fYDcV9Rl4VKOYuJcIgw6vPMOH1FbysFLQvAoLMSzeCgbiOJ4369nIu07Al5sJGJhK9bYwEQm4MRUObzCaP7Bp18QifacEbtutMQsQd1gyBSEXynyZvl730dkaYO28scRyi/OizDsYMKz1TgkyIT4KXEyJVDS3T0kszWrgGXnPwi4cFw5z3YGp2kzOAxVU6ebsCK0nrZ2jtK5lQ1XHr0VGYRXq3nn7/G3VrPFMjI9HxlPBk+ezchQE1SNKGDAU9iv7djYg3P9XoTpEDJPcO1ONyC2AMKAblM4hQ7sokCLnHzPNLqRC/QRnCk23zkCLxjdv8wBXyQwM+O6RC6WbpNvey0eKxDifyJNznlMNjTPgOPUfa6quI5BxeFLSZpncXdExYz3O2RWFC5zIH4FkYTQvqhzwZwfqPvD1PZd6J9q5VN+Z6cfEgXxsTTAO+CACDtghgHKXOdz66q/WkTO0cauxWI05WKl11VQ2PIsZqSNt5orleBgpyBC1Wwl3exQmJfNZg5f027hDvxDUm5SB6kc/T4DXHmQJKZrMHBQiP3wkjsZQROdWRDhX5igthfdtMPMv+vDTLc3isderw50obXeP6+HNmVDoT/7rLH+RdGzJBfHg+o4jmK5xx6nkd3OPaq9M1dBcVxf3Sxik6DAb6ivKiYDE2Cv8h0jYE0siGbTOzdFiOa4eQAPzBqYA6E+Byl6bj1rX6+2UUrZMzoXsZaB0Wkk/t3Stv3HQC5coyTF2IO2uQlHjRp+no5y7VYBz4Pj6eOJCN1QIpDJNOgM6LW68IK1E6mYscre9LaTRNPud9lQykgdxfH0hPtLT84fAlRlvsly2Eexkt8hRCdLsiNY3sOrhkBOjFxRH6arZUZ0uLl+Rgekwr5k1BFvrIs47siKieVzfJZKO3IMnLL7LP+2YiXwIgfyiOsIol38TFpG3mv59bvZOIXAnM8KW6kqsQDTfoEfoF8rqyyLJDKYiRRvUYCixowshq6cSSA/b6pyBit7JtdtLLHqMojWnZhO+QMBIP30LLIoS2SPIn20XrL4S12cgfM6DANeVWK9OxvgLK+GX7IKa5KoTp/PTFK/JDii5vgMPvZSbg4rb8LaWXe/LNykqRBtzLfWzbEfscvP/Y0HDIDNXVMSJmey/4iBLyFaXOXRmushcT2OHoPF8dU//2Gol5IWQpBmCfK72nRNTovGm2oF8p7W6UXpaIOlrbz9SI/TP5424pRid9N3D00Dr/HSSPhu+tiWAIj+s1DUf0knR1Cjedh4K1W20he9iH5WB28iuWr1WIcNbnfpTzrIcnGU9Aa/9mimZFA/EsxmDua0FrHN0WkeHK95HKLo4M1AzHqgHaGZ+XnAdgzT8bO5EGreHQs9QV2uRpp3sJ19Txlx+fh3Pt1T0pvc1hk50LOd/Wgg4RkaWYq/AqBM1ZrS9Tn/rbdhlNRjdrFus8o6XUQ+92a5xhP8EDiv2Ch+UbAR0PXl5LDuWoaZaFzNdyv4ooUvqZKax+kp7t1HT4qt3aUDdAOwCgcj7cM6eS406+eVDgB6K32Ylkypn5ggkcAB3j+kXjUw7Udo/CZf9Nr6Da97D0t16nxUvSitmg+g7qlHp6rXzXk76Sv8f0LFGT2IgqCCKa0cMuyJEQdWSm9cUgVTuVrQYMsVV5S1ty24pIZFxrx9BgyCpYZDo8PcX6SODGnAoE8yxttcJ8dt7TSUU7p05jHBiQAEr+qA+zlrWcpSgYKTunJsF0g9DqlnOaxaTe6ODdDUn+2LlSYO4IbLeqTWi8fOq7PQtZ3A0Ipgbx5f6Kjq6FzlrT7fgiPyE0Utk5B08HRyKo5HMBUPkwQnxQ1cwftMw9yAmWgNhAYBcNIN2i4IwwLf+eIEkV9ZYNBqSx2Twvx4x29TtoyqKtzd1jin+pF/jp4PMPPbPY/D7J245/Z7aI11d3r1+0ktxoIXGy6VPU+oaDlDBzyxJvjr6pCEFGHfn0nLDdPb7oE8TwLVl/5KwtYKN6KJyZO/LqpaURv5ouSK6KgNHVhhIruXGk9PWPGVFVAVnWMTF++xps23KHnNKdGpHV4r8+n0NRmtUZomYw+s4zq1KzBNK/yfgErHO+tJfrcL5pry3gmVOolsIZU8SK6kAAfwXPisBQ0vSa17N65LMIesaXQYQD8D33y/FhXn0qKpxkW2yP45bwA2/bo2t2FyneG9yS00FQ872VhKaCNfU5wdZeL5O5TKI+x7oLUWg/eOs1pUwUHCJrEfhePMMWIXck2OhOAqgZc5VacaX5YuHOn65s07ZPs/qjZw4vyYHy0zwLq0VvDZrbuwsf2QtsNdYDSweSFFA2wxRif/IWmdpvR9LdefoUdMNaLQCGs01xEQXmuGIrTrFWPt2svJTVjTVTz9dBGEsfkChZPOaj0jYv3x7zjpPfuHf0Z6+pZYfVcQGq7Lr7/3p7rIUQokwZWd0c5Zm8GsFwssfBaD0fQYDpEVvD9THlvb6UJpLDH6eKYJ2Gu1bMxuOJiqhMRJmqix/QJwBytKa0uEWQtCX/knMwuGWHpIZFRg7W558O1/huOS3kvgxpHN13IXerJjO/VFJOH9SDPnrrECevT3mAS6ygo+ovKmHcJWyrun4huxZucrmvHrsl4KKmGITs13DxZx55bXmZLVt92cmQanrOuJhQcb1kY8/H2Dy2wxYuciqRCUs2oj+YLXJTxwSiZ2WluhbWTJOWNqier9PKvT4LxXkEWHaeDU8wY8D2DWU8CE2TN7LrK3tLXQjSNN2uLdkxaPLkHkuL1Lk756X6jW5vY+vsbbK5O6SF1iQOLq6fvI1xFRr+cYnQ/v7RNYZltHxTKWzC5TajwONPUcXOrI2BMqnnse7sVWzWgYtmjSkq+bVXW3Nfsdilc+dBGMGbSA9fcxwoCoa4J1ktd4Tnkxp3EsFsxss7HdiNFYqsGBVx4B+gIpm/odEVi2G9iHg7JUqM1oni9nfn+bW4Zz2ujNJ+uCWAc4Q1FvT9/X9V5rmdT9sQeC5hibHsJW9svVpuLRqK94EmYFUkw19oj2acdbOvIwkk9aBoDOXEaYaiX3lmifI+S4IggM/PWtF14plmN/gw/5cmy4szf0P0FZk2pvMXB16EAkpWO3rpBJd5/UheqXaWFcQN5oNgNwWIX1FhwQOOmfd+Wd3coTw0bm/Lg/juppE1n+lcN8lR2MKp4Glhyu/Mf4CuGHj3JCBXCkofnLaV6QSlopNH+yACS5T0oZ5CYVZPs51x98FBOt18BrQM3HYWA1ckQDyMM092VussZLPxaZADUDRlyPr2POYl/urzGqaAtk0Ma3UdH7JvMkc9KvIdN4pGEAgYmGxkZmhmo+9zSsoYOjqqmTNWI7qXt6jL99zW8vnQX39M/eqCmK4jAXp3KGHvy95buD9vfs5SugiWrAGhtzD7lNMCYibz5aCvWCkH+1UlH3ldVWUtdGShnmQn3mY+0drDa7yi4rj9GfDWNyJJQ2bGQswDkWCWAbmuKT4iX+DQ2HvVYYB6QRD4AMOmROHkI9f06jLaHEHtS83fAnvhLLNPrHHKpprwkj1J4EGwGBzPVmX4bOQeNFetDlrTS1ok09FCbf8Y2OV3ifiEpNmkAkF2s2aovqq9B4+LHsvmgyQ+UIE5kz8cHv2ZKVAotDLfLIOUEaaXlRiIjQxEv9m+D3+3X/4leT574z05S4pOl8BE/WI96yvUn86kf1eZ8Wn4tVBSUrJgKuW6I4rMqzW1b8k65q+MsCZAQli2Sdqf6U0gMG8W7wocqaMYLMHaSDJbvK611RO4tg+k31wFUqZC5lmX1SgojWt2fQOH5QL3OMMZC3M9T9fiCsnyjbjmHUdui2GlbPFojWoq/LcOCpobVCA4y6zhwHPOs5zNn1jMw0EgZTNvI96P8pMhJKfXqKybUeY99bcyMxJc9sAiXjhGuv/pXfPXXkwnFhq+TEpdY+xpTCyoGn1npHE48RG9Tm3pEksSPllTLyKQsVeXWtWL5sq/ers35lkU62MzLne6KlsETYWSVOywDapIAqmlYFME5whJIhc1Qb27JNcPel+ph/kwTGaHbX1vPiGo/7Y9hwqvcgwTx3SioIVPoWvXsSoD6HwyoX83XdoB+Rml7NJV3wuzgcSLPQvxKED10eGYc0e9U/MrK+3p8RBzl+NP2AlPER71iuYzfcD45fo+VcaTw/qAvZPHiYL4b1tv9+34AW47Ku7dl6WhkAdnkUtmtEfuANCvjlI85RFY64Y7Acf8dEDtqw40+YtjMTwMttyJet1qQYcLXI+q8c7gEa5iUJbtWzZtqFMtEK96WVg6T6q3BrvgPZVommpLzCdy0M1V/doSOneLvttmdAX11LZLQvwY0RR1bslMfMPw20tAMawBeyWUi54eU6+HjvX8MJ/mvrNO0IuqQAwPhuIGaWobr7ZHLfZ8bBe7OBCgJN/3r7e6ldppvLpO/SW0uS7rAdwu1OLEa0uUwkelTseYzxeBq+CWSUXRzuuqsK1dB9tUVsIcOZVWsDOyztA30Om4fjuoDvUP0HJfQWlHeC010s5QI1Qp6AO3WVQ3JDZoepkOStiG9O2uvDc/yuVui1gYtlIbufOa4lqMXadFZbLwmjTLv0BVsIhZJIs3S3dAXqYuOc9um5hK+dkW7rJmZEZlM2JIHHrD+dp+s1AbLN0y7TWvysamC39KAePhNcGikWzTjbfXLnHGt3B3P6L9obTsbt5vqW505DFNZpHD0QPxkHyMW4+rkgGa8f526eTVXU6bSThxnQB/eVyQXhtm7g4ltolYosZHGxr+xysup4UhrhrUyaZwHhp0B3b8wYMNA94vBDx0mIkaaX+W6aoGdm4uHgvfovEW3LD0ym1EbJnu/dPRhpk64PFtfTP6/6tbGpWJl5dBBbn3MzClQmcGko9HG7oykDCPXmwg0tZN9tmxPmaZeHYwdCi5FRbQeIA5DcCqJkwOTiFPNfTc4zKrk9FR07Ca7JPPw0KOKLzlRUrzABZK8qtW6EKV6/mGarpdjexmKPPd8f/qo6RrRdM6Xe+Il553/6uJsNmv2qKpf6mJmDkPpz5Emzu7xbtn6RbjuwMLY8Ory6U6qKNeASjTRM/SZ8hyHCVqukEHkcVeW0yuJwUDVn0qWpUVAARefwDjD4B58Uk/1nt8QcQTnFoczUagPiFAlw4zjGSLxrLiro+GLGBuShn7ZWsKRN4C4UWMpEgEAsBEaDpFgDTc3ljRyW7w/ixDHiVDyTl3cci+2f9HWLYyoCeeEy1liniZVMdNHDsSUgPOUL+2te1cuJowzpStxYIqkMaqdoGByuQygb3T31FGR0DM9sLAYEQFHvs5IQKIMIguiUj/0sl/qo8dTJSddqtqb6Cg/qPTX4xhuPC9mmGAhNdA/rFuaFhkFWFJKy8QrOhWxq2Yfe9Lqb8hDuNNBd89pRVzBfYnBSXomYbdHNV06hjX93dTVAg8oLnnP3YdUyvA6b9BvSun085Ttuydqf/1aVxGRF2EXFeiaGvJe9rUHupViax/t+nWa39kWgu3qW+IEpoZhrHrJ2ZgDGWFM0ywK0th7t1m0Ir68UO8ikL1+h5BWOoOIGeOMLPzsb2WK9eHnpuxn4jnR1GWcT23TpfLu9xaBJfCRT+uEbDm2ol9OD8btbJ3AzDRn+IqfewWfZLF6UcjsgRUsOZ8X2/cNoIFsatomzefJH+tlanXkY1hI78g2dJ1a/ihlZ5o+naW2HTa1jjV901c0sXor+8GRygabNkuT49p/Z/k93S5WTTQqrz46EOifjHNXtDfrF3lPDN8m6Ha503pm0HpXhZUh9r4lukX4F9XBmbC1yI+b4IV12pBjjhmxhlSBlC0keyoRpBUsNhUSBE8UsgeoUpWWMmIsCFKk2wwzhHrhJ4fannbHHM4zQ+I32iBwdstb7+I4SHdrVBOQVcJhvr6zCyi3azNnAPLxtHBiS9MQnLyI+bqjFWFoy8sUN/yurWqMn3E2Jcb/JG30lSqTf5tl6Jk/Hwu/0cb37xOzwKhB5fOjjwYkDjA9hswjmjwc6eVudIyOlOeNRChae0UKmADmw28XvQBQpDNihJilDmGhy/PH2o2VohzeONWUIhNoaQ1itaU4YpA3mH4FvCbNzb1Op5LqZAoFttT9Cziho+pLRX3ArdsKV0yGTLSiRR28mZIHvuedN0s9Usap4OJrXWqFdFd0PXPAAi97JUlSNYhedJZ0YkMlpQMnYzKHOdRefMZhOgaC/w8CnL8pTC0lIeXkiXmkuBxnA9vntg1IhBH96gxhWpns++5hm8lFwIMz9cEu+693on2NlqPUukfyVxxCrpSjDw/vkLI+h8eMEQkttzpaTwV1CrEwG+0mVBSP9UKGC2mwMWtdG7bhnmum8AwfsE40YlMk2Wp6DtBPv5icIub3s3S8NRNEYrjS2f1RRXMvpWtzCvK23LjV7wXccFR9zyx36agJtyQOMvG2NhmmVt+HUQa3+HuyW/1IKJPgaLI12F1+T35EZQmYjz+2llL/lRT6WWuQwO8wX/Tyv6q5PUAXt40CIkTN4fE9meallDeje8T86JEqS/RL4TVqli5SkZTFIyTqUQpobKN5+U8s88qU2IanTEIAGnMfKhRqoYBti3Swk+8vcP6O2mUCPqs8Azk1nIlSKhlPPBNYROHkORGsRiyf3dl2l41lwYQ0LWv9BQOv1trCloWFYBqeHPHQ0aVHznkG45x0h3qJge6lOHY7Q/OJs1hWITNEF1Qmvh1lSrySDF0l+cPvyBcL+MH4DbLnS6buOApi1t9P6O5DE/eBBX5Lmathcn58A1VE2U0yM9GmALsPnMpyjLfSpPxUG06HwsWBtspt5cLvkpk/EL4V51uOzpYyBRA4gsnDVlFUeoks22Q7+0Eqn9pcHcHiQETUgeoWwJpGTi/Z6805aj3CYsFAMSVwyOT9WWCdqrS/MpQ4nWyoE1AMTxfKHVUNBcn+7TGY2WrdHKh/k1DwPxujfNr9P0KrD0DWnFBmuq2KF3jqF4KaqApEjHA53WguGsHDrqN2ooI6O9oqmoBhMNVpLP9ybGIgBMOKfcgkxwCMs+CsHmEe0F3A5FAQBrNBuWYx5ZgG73OVpkiT7YKSLqK3VcDC7qBnC0J6tEFvpbdlytZz8FOlKCf6v7fNRtOJeae6FpGr2hx6PBmRd5rUqcpWktiQg/hn2U622cgQmFHV8GhWYIO+InAx7kYbSiQpknlnYTiNTmX25flIvsQTkhjURah5fdtDXb7sqC9mClJ2R4aqJQk+d90NbckDeqBveqXPg5BidlHA4rXYLVW4q8x9JYhLx6bNThVcTEzsQxOxkreHT4/CGgP6QP1BLJfgAN8jk08kFwszv7YX26psq2yt5FoppF05EOtO8mEx9sklX/egc5kXOzewOmVvVpLVKhYTo4x3jgazP97+Yn1OHIhxtu96r5z8LjXC/fbxh7msRvzT2btCLDRcpnpQ0+Q8ILpGu41bpq8O6WbVYNbCPqxRPKux/bFlAngpdKRM5sYsFa4CmcGyfJR9aGpM+3WJz3phoU1DuaNuYirlZfj5kJLW8yGkCBJf2v3A1ezOFtgcdUbD0W3jL4k5Ew8no4lhPlYNWyJC5koNHVCqd+BuR0bNW42xebK2+oAInWasMEnyJaQPRK4oM4ynPlxr0TCMBSA6m0Owj73305JZ3enXhp4o8p7Z1X2ehtyf4pUOY7f2fbeo4wW0bs8EfVX87ijf7FHezcw3do90+ViAFjK2xIGhmctXseTlZ6vf1zRI2/G9LfbrbqxuYt9JFjcFJJ7uPDfWwyLmw6691QDKBdJaFXFbFusAmZrjtpFGgh6Tfm4ZicUY0RuWR6UU9b2Dm1YTxCTfcTzCLIP+huhJnmlPFYGUW1BOPvwjKwQ/AnpTfIGfKwzdGmQU42eW/Ua+ph5zEvKhlXEbtfRLFkNPuFh2dYMiMCXfxu7K5dJ53XeFI8mr527HinjzXb8SP9fmodVHa6WNVTGPU+1LlVonOVurv9WUS5+p1vYdl/FdZYkiaqD5wIF2FV2tes8aX+LSwdSjpQE6hZFqZkOO+AEmjHC1QgUDoxz/ygGO0KS8F0nkDNBvVSNrsFHBT2dZaBgtmYpd5t4G780acUsAM684ZtveGtN4lyxaHRKwWnU/zLzJcJtas1ZRisZhcUkd5ZsMf2VC7vZ2qURypFF6vb+u0Am0NB21a2ZWIVxSbNMvkpg9IA37FFI2/XmzQKQcqS4rQKV8Lu3V9APu7Scu1F4I/fMr9Li6HApR96FZ0RuvdUUJ03AxUs6Ls2sGEFm4FYtY04Ga1WYKH5yE7bUwrdg/ZLH4gWm/3DrPDiY61JWjO8GjT9h1WzCKfnKhPa/HzVVWCuv4RUlqGrbGG6YvVY8UDztOrIiHNYuko1a1nMUZpZMlPnUDrUwI+7733rMRzUYiu5rmETj2lfU2WnVV1b15Or/WJYbFrvcHCQt9egTQP5pdBnRSsB0wepu1SJQ9ojB+GoLCq27UtYPEnJ4="/>
  <p:tag name="MEKKOXMLTAGS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U49qDHCcFuAJE1Ommi9A8hgj9S9vv15pmLNceLB/THrWt7v0VDEFeUyDo548BeXaOTuVpcQ6ZSron/ZnIV7g0iP39DvwcJg9WLm5HN7X1wjZtTX2QrwgngPdVIkzgvaslwEaXIicF+uH7Ak6YDLbRG7V2gLMOlt52ilt9okz/W+GkYfffzKxiPuOtFUMeEk9d/qGG0/QMUwT4LX15GSBlcc4VoAzno/PqQdgRa7yCdsUM2r3BMpCIP8EqeKBzhjbDVKQ7xDOG1uHYe/7h5vIGKFn7CQJvJ9oHrtKmzGXefI9dzUzlPdXJml2LiQLIMzTPEGVOOUghgNppgLH/Y1Mm+tZ70Q8MyMfs0bTLMSSifCKt+CuMGQrb54CQfKX5eO/KLRcurOfBsq0e5FszL+CE1d8Mv/IpxfZWge9e3WCWib0En94/zoVXcFR1ZUeRn/xBBv/p0sLgF0hUjAEEY5Y2inPdy833VjHTiI4WqOCC9R0hum7w7VIkduVNbe5KOZ2kR8xj6RvxWIjhCP7/lUEncX9ouZ6x+LVi/XlGpAHb+Ip1XZwYQlmE1ZMLuH8CSJ6bRl5vD3K5EkHbG8CJ1Yp+D7GADFJXTgIrjRYruzB1sVIcV/eZ9DKjm0aSx0uwtpEJTj3CPGZ+U5Kbk0TeNYfYAmkgkZZRKJt9H7b0Z1/kpAGl1+TIoq1dCHQaDdyfT68PX6QEh/A7OTu36WLw0SXLEewC3TfB4m/0RquIqMTedn4OYp/uBAr6OjKQTzXc3+aRBxTmmNewxH5b1zSHiunLB65+cy4BFU7RB6gLq9RGSzTrwCBPB/YXWjNeKK1odTdr1kLDEV9obuq4VOeFmie3KQLwkeD8tviJysoHTz6/dPtb/TnSAub1JkHij3XrVn555vg8uAXUMlzl/DX6K6KYc+oaYZacH/tlkttjljMsZEc4E/1gJ9/+OU6AtZE5QocpnB4KIzzIRaTGPkY5sL8P5Kzw1crRUw1MT8Mlmehe+RU0TLbT0wAPv3Q2h6kCS/Hl//1RPNze538MEwa+w/amslmHc7YF+Ms8k0+O6FEOGmUeBxvdWGnrhkOunRDvyjipo2XX3ZTKVcf2BiVZIIL2/jWc6Jph90bdIAgxeUVa5gFNswN0tPzj1HvRm/L4SIdB9DlX8yIGQtX95Ugd1TCvEQ9AVvNPJQUDBFhg9XaUxcwiwhNmbFIa25yqWIWwIMfNeBWo7kfIAae9hza2yLMd30DbLBqRzt5xJkal375OiobRDFpOqoLzNuun2OaJ19S4V5qaUz3gvz0S1YnUz9g5rvoSEvvU1MV7FnRmWXSzQbbYophb3CTWHpKcFJuKotOAi9UtsL541tSPtO15GnKeK+dLUwazAulKwhxqtk6sm5NTiSbMgBf3trX8fvBfm+qTlao4F+0Fzj5EmhVkcsMUoT7tNyqRL+Ce9BkCkOL0TbDsX7AV/C+GvieNFjDCen+NecJIrE0HmuUnNPK8YwFfX9CwVvB7/F7Cgn0/f3NAHdI1rqZOPMDQvkxRWjQ5qXBYGTiU6IardreRW/eEL4tMXaLSfQGcLGSTmIuTWhbggj4tPSQ2VZCByhiaoo40J3Q/Gp3IpFH8Vw3R3sMgNnqla/X140jGHtzIdFtJ+U/xB3W5kfM8StUs9KulwAcKVZ/mqeP865I9SBQ2NBKwZVtP6tEgjPWb917tpIxndvslXNmwd568RYgDGmnLczuROSehzFlmFVivXDzWTQbwSgyyv7qsAzXipqaqIY+4qrvFrmWE7lk/LBhq5ztal3PLei+YgCcx54Z96+WzuKcimdCQ80LhLz0CWdiaiKS+c7zGVFsONamzxpvA9GuA02phqpYo8KexhKHddIjVo4xEY1GP+v/SajqQVeXpbGGkUAl4E/QpiI9Yp9gAKhdmuoejQbgElaERxCK/Owou3/Z41TTOJBA1fO2/192DbaCwKHCN0MFQlgfogK5XluY8ABPtHLgeVrFDWg8pk/YleHJn6DgJ2WHnR5jS8o8OadPVDrqEyPbZE3jnS3BgfIXR+uzYrP0H7oYfmXB7bsSelZZwQjLV7hHlh8MIQRB8ggYQ4AuGzGbbVDv1Kf3MBnBRw7W1Iqn6BueQ87gF9fN19ECKKlAGjydm7bwvTs8DOZtQ+OUyWDlrOI05xEjA1IGv4xAZff9XMybPPWcb6SpDhnUOu5+nq3k3ry+mrmn4dvsHxS849cFsMPVasZScLgyv+Oz2o5McfMSfVJLFTE0hWn7v/EFG2uoDVOGto3zA1Co4Vhs6DtDAJwG9ZfQDxLEigPH8J060GxG1Sr6wyXhgMHHxUhHQxeN3dJGEjEEF/Lx2YFcBVkE536AOQVxvI2myxfTFUFONN6Sm5kqdbXKi8ESNqqYg5Afo2J4zcYe+yN94/yxAmbN9N59glt4M8mWEdGCrC+Hzv7/FxG0PsmJKxKSVlnoZso2Yeg5ig7Ro1+Gl+5SjodBx9RC23Qh72Zbd8om1JPf4kW5wgQ0X+THgiLY4hp9gxX/QXe5bfLSSsibdqZiQztGKIWckjpLzVvM/VvZ4bAerIIykAN++FL3HEvslVXSnM30OwzQ9Gv06efs6mDsw0aTV147dpT7mNRXZX7YImyvcAhg764SBJwiMGltcG8cUKZUyM5z2AtzdQWSxR+J7QPU53I0cGXGEkPW6gXiK5JGcxcfbD0NNRLRJhVaf0XlKGwGdiuJB0P1Pryt5/bZbLrcV4b9SY0Y0LvvDnagax/EbpamETlSE9qqgF7fqpbDznuwT4S1UTKm1GNjAjxJP5znEv05EI7dyZ4KFJlh9Nh8YXDzmOd3S06+EpJMwllZZZWH2S45Me+5WfpQKk1KrMzK8Q8+4137egTAY5bRNWvhbcRTopCnc6hDitaAniqL93B18DW2oyNE3cZEDZ6x+SXurBz2IHet102I/VU6uKnBG2Sib1sKIpyvry1Of0RmwsbF4jpFVL4ZI83nQ0/Hc3V23hRc7oeBIFt2/usiwILTGytimHAxzvNgKK6OmqpadyxqgKPvXB0QCo7qPb0kYiw7UIshhuKUdMUiIbd2R9XNpIvJV4cRTosfWTDIbboUIZ5Frd+dxfg2gzE8xIH3AfE6c28sYd92t8Vz7Skz/RO8tyCnmM7qKQE5ZVenUhDj4n3cvKPjHGJtSlR/wgVJBem22mEpPj4KBm4dv8346HoWXQJYPWzLSAy+nXrrVbDViTZ6LTR7/GTRK5vlo96Fo+7+zOvZ4f5ayGxLxLnsChgTFeSG1AdOoxB5sEzKqejsPFIzvEEYuDCg7ACMcxH2OPGVgY7hasPsSo5cO95z0/TnKi1XELHwcSWdXFFkTnMsL5Anz8Isx169ud/K5tUUooD90TQFjlGCJvz8ZyBkPqhkV9V5rNeMKB7fd1rpTJ0PQyqdPrh/E2IAUnm8adKMMBKat2JUjQmIRl2Dj4BYr1z8kq2IVrkxjz5/N/IsTE1eXiZb/ECNSxZO9qavdaDN0p83Ye/3sj6r5ZOcFZAIeRd4fDYpVz/c3YXGMMpbPjxfveSvmwX6nOHSdI+xv/XVNPG4g0VbSh3CM3jHACXC9bxyOv2txXYv0t6R8IrLlr/5RNdxuJAtM6mS6pl/n9T4ydqjQfIEocujephvglvlfuibITnb9k8433NGt6/6NMSWOmQX1UJngDEWVgaMtrs/CmjOburFUAvNN2/MhVl4Ag4a6pXYj0whkFzg5EGNgOxI0o5OlfZHUgpgJvxwTJyWUZhtH2ELRBRr32Y46ylCN3cV1Fz48bsBxCRdLwRnHvMFnhvmKZyWeAmg88Pdy4TMOkhpuvg39FBq0wTt3FWoWn1H31p2oVkOCCV8zXmWrKFdUV0bmB5mPICQI9HH4kU0d4tJROMBERJssqs/gcUuQP0Xhm0UYn9E6EjpQDjoVPBFEINEU9wQt2ZsgSLARIJEJ6LMTAcqrg7+WVwqjrgLxzH5KKjM9KKiT3Fi57kJPmpBOBkuv1c/nAcaUSXeeA53QdE+iAMz/nYBj9BCWPrEE8RomNs+ePsPkfJPD9NHh358EK8n/xYD614G+kWtcHn0z4WGzkdwzfRcY88Bs2S3QVyPPReGcNa8D+wPdLzUww1G9Nxggto53C624YSGRryIeDV1lqnLq+NkMIXJioc9ukRP/+LQmAXfqwOq25Qmuu+lTAIn9z6dvtg4Q4HcnDINPDKGMukc4DPKnzqjpURSjBDh6wvMVZteMdQxly/TA1F4ZVPoWTMLSpSdfMGdPdWA779ByN/TsIPZU2tV3XBSxRrErjZMHRdtfE6n25soqySnO8xh3wLI1S1XzFrVT4I2Osib/Byas255MPW2Z2osLVwOiTMFuaW410SRpt//eWe9fCebuQ8/6zTGmfly7dVhS8UrMWWsxiMp8UCLGDP4XHKyZYuintHE7NHoh2rmSBe5OLStbicPbO0OYxCPGoqizFYaRRKerzYuvF2F3RTIVWY+EU9lUSmPVANYEGgdWSsU0s5SCUwzpa5Ap0a7aR6oI8h9wfhPn4iqCw3/LQKTDyP5kBARN3+ujkSH8Y63dj/FVxpCDVpFWz+BtZaWn2Wr4hcAYzWCX5fMZfQiYEkYSfixn/NhjntymijCNQwdgXo5XVn0W7Tz167fNYlE7n8bvvXKeUxFSAbo1VjLwcacZO1s+vpIDb/M06gTt21KTJXUQAB5ryfP2vAtEl6fyU7r4oZaNI9ZTSRncx44xR1mcayto1+s5xkboT0+jemx920dyUfaLD1WvSGSa5M85lkGz2GT4EjBnpGwXpzpgsby0H4JEuykoFz/U94w5QD7K0zxnzKmvKQTym/87o/jRAhBhmbDnQiPgtEerBOlsTo2nAed+0R7hb6RBQVL2hiQ2n/fTLJVfmxgDDb+BOoJy24KAbcZ71o4rY23hFypjc7uQrDeUSTtmaCDNkPEryNVJW5vhO84MICFrFAAx4z9eC3qGu+Dyv4xojL2xojzhDRBOR/5JAVcMoO0SsG6TI9Cz7LyJW93ok2Hgg1LqdtgPm1B7WmsZjRvG7unqQdc9LtL9nlGkpyBcjfVMMkpyPU8sLxE9TXiADiLmS7D0C5MHbjDIhRAO/lKc2wL03oR7QZ3zDnifqIj9UW0ablU6R1yni1JG3cTxv2SVNkbDbgFwUbvRbMItbwGLpAccBO4ukXCemU4rzX58cTY2qe++F+x4YVXZWjOAI123FfROv6EIjn3m1DAzVqCLG3MaVF0eE/DYfBmXXANYKHiMCC8T3PeN6S9z7f7PXQFcUkTP5ityS8smX4+cRhHUkOwuMpCYqVqeakBou1xZ/JPuI7f16D8QvO26cfes9Sg+blpTZtcMnE9No/RJ1IrTkNpiwejx12n7rhDkxvTnDLa4zN/NfqN00ZoaHtY8WKk8wcGXKRtUZuqWhGlEThfMeWUFy+jutFkNyYoN80zilHPX7swAVIsVaLIgv/93WLu4rBHOE1RFBKqbnPt5rt7TdCfpJiOeUCjiPd97ngH8+Na5RncrCOGzstRZ/RSLBaSy6ULxrgLqklYveCIhsY7Pki/SnObg7sasGZk1Q3TX/huZzBRZCbNpietP7V5PBe++T0hn4q1ij0AXNYqHRBxPSsAzcQhU/LOr0tSsfEhHVwLjZ6s2YsPU/px31mS0mInafrRyJ1Z0cKrrxYQcVKDYBwpXZ7KWS84bpKSQZKcOYztPsG4zo3SjiWVdLXTE+czT+dIzeoptWZBazkWL6bzPP7l1eiiK5G9OoFjCX0ube/DKVGtDKata1p9/tw9q5yuYGEG9zYO3SCGGXCPni4Zzarr+PgFejZIKXPqg3RJr5Sw+MRte0Dz2EqmCZARvIvr5mu58QpyVnKs+t390PUVxsOf28l3FG6y8vsUS6zMzgfxi9Wg2lfYaJGmdUI3wT+kgbWT48MD/oLV4slXePG7fmnnA41mrsixDl76aQF89b4xS7ftAyo7CaMDG0RKnwU++Z78Dt5YZTcZ1Rq5vdz3xPieDgL9dGcrNGQqbl8q5oEtJS69fYf9CpLAR9abP83vAohO5qGUpec1sUxRi+ysUW2en5eKwJ93TxKRm0ABXCOsWT7K3QkDh+8REjrT2LjCeXqz81Ve34ZWiv8Tm3IFU7EGNsqJehi20mCLej/mSswMFwn98TMycT97+8aaV00naVWCglcyibfQUdqKGPuvlyuTCNKNJMNH9vd3+QcGb0FAU2gyxQQ4Yv/kvGK6GRqnpcDOAs5t7WwpSesaCs2WgVoMzc3szb8wqjqofXF2KQ/4D5OgDecEpjacj5Okz2tQ4StRzjsa5Xc3H64NV1QL+llELiuPkc8oycAQX+7KA8wPUZnVGN3IwYz5TEfUkI68+5EIpD+kNK2biO+trB6fC9RqgySFpixBl56zBGMPDIoIV/vqLzV0cp9Zyv7n5QOaPWqUz+O8cVTRTolpP6lC9B1f5gG7yCI9NN4Y+D02Z/dnAL9TMe+4026LCnSr0e0TmnEERbbtL916WRL4B6bDyHWoHY9pWHlP9Mfm7NUcjtYs0spQvJS2y52jFhIaUfSIDwv2O554HtrSncVS9YExGpwj3FO6Ceio4m0q0JL27hMurSAbKH1cla43VvaEQbUhlJEsggtyEaAScVVN0WdkPNQjBzg3E2TyHmeuD0CTi5snTRBNpBl3Ht7ght0FcjTNDmya/a5DjQGO8W4TL/qauOUl4xeYedCJzI/mMvY7g1RwnV+ca3sNL9PAaTA+OqrhP+uM8IoV526XsDrVbJIGaJao8LN7TBZYulM3/3fRyRnV0MiPHvaq5gHgIFzxD6KHiKymIxApvKrXNK/M/Z/+fm5Pb0n4bO+39ADUs7B0rE51PAYH/fucRziOkEDBKsdOq+HP69Z9s1TH50YXet1VMiUZoZQUkEd2jLG7J/e4WyWb4ZYrXipEV6CjAjJ0yE1r7oPyVHfTk/4ghAAzcWsdYUHe8ZEmtgdAGSXHlZPICGk9j17kitQO5CME11xnfwunHpdUYagH9Z6qtBGXb3GT1+UyUiSxQsg5Ds5IJY5qJMyibkRZrlsZD/ImWmQ7tiTZ/AMr4D3PKDJzizwHhs6WaOyqs5BMF+a9hdhJpZV9U6sBDltlbXaEg3wtlcA/0M+k+PUm2/VbuhXfkq7f+eARm3Z1skiU1OwUiLMGXzCzdQuwmnczdAfwBVOjocf2J8fZFn4sM8qZXLCBcsuVpOLixTXT2grfh82FeF0hWGoU9tEwNe9M96DqLfgah37pwC/410oTmscCAozb6I7vr0V+XDb+diLqWJID9JCx8Yc8NdOtRkw4cgTLuAPOieQ/p2IkJX5LI50i0PU6v3afg1a+AF/5eN+itBbsc/mO52HfUR0+9pFUh3JscBXT+aIEHrQ9LR2erGNLj5P8yu3kGoWwEPQKsjksqBM/PivGbGr7qmwFnNIh44Q4HNnW5lSRhDQKI/NOuDRbgGPt/9n4lhQbCLUKKOJUVqpFY5ufrueQ+YBqaP+3ClSQSu6CP91mHYtUBXGFJ0m8cRfztzLyPg+fNEzazuZ8D1mqhSyYycSHluK7FsusQzDkPfE2OSft6gNCFWCTA2J1kC3UeZzzGi854NZjgfE/EeBrhV/4DhB9WVjtxrC0TcmndMJ1zk0xAgcgTny/hBsJ/Om54XS/WPYZxsc2jrXsMZ54xWwXXpZ8sDWMh+AEm+skLoo/DXE2LV8HqvLghMEMYJV4HAqWwxyRt1Hei3Zv7ts/wc76X5J+8t+ma8PrkrHzgznMCVZdU70X9TObzCZbkX3gmxj/G8bIfN005SQHaFLUMsT6Mg7JgkaGH//M/b4NkANKXL+q3d+z3nBRB7Kz/KJv1+sYsfqzp8DOpUfYYgAFQKafVntApH49aSoDMhi9fKsuJaMoQgtofQae4Reazmc5TXpyOqsMeaMBgryjNPb+upkeuS/Fknb1jtBdtfrvhJ4b5MCB6otRFmzQ7cAYhUb0l6oQ0rEL47V9z1LAJ5VJehVpig2FCHJQXTcFo4H8y38P3nuzgZ+LvHWCfdohOiL+IVbVAXPZ//lJ7li5HrHc60QAsC37dGw4CSXduriUIh8D2kZup5vnZg5JbxQocqlvzosrYhG/KgTELgDfoiyc/jZuOINwrbK08TCKdcHyYTXdYv919lapudS+s4BPHyzg7vurJzp1K6vzcIAydeWQEKt0EXM3bj0Ls1OJIP4yme41Vuvy7zOP7CT0ZDCZ5XQX8CYpo0yHkNbA53HK6APECh1un8VciINqoUl7OYmg4/H1bQi247gV9q0tL/hsknTRa+rsF0jIhahhzrhSDw0D+U3njj3gAgaSeXBXAzZh/l7K6bYcixVN/r9LVYkvejDagukUD0KxBpD0yvxHkN8ImkaJ46bFWSUZazeTVP5E8UrN5LyrGpNKpkkzZshdIkxITiB9fgsUn+KjV7sy0N52dFmQJU30lzpor9TOeGae2iVCZUzr/XeYuY4G1Ffw6CLwMACbitp14f36hDMQ1M0IMYM8+GtnbktIgusMEt5NQapxUtaDl+1NiHEdx5uVW0EIvdSnv8+v1vcn2kX6WtcDvw8pRtlOzCA4NNFf7eT7c+ERnaAW52iOHhNoEkoPF822dKVzRtlCxvyDZA34bVGopSjDX2AF6M1VR7eKxixn4Wl5XqHqRF5XQOT1/26Jg31YVU++ezE72pJ4/irVrdcli38h9nq0jqn7FZ8LmSn/8DnUSfMGmvB+szlrSEJG+6tu4GHmOAykxBI4o9bNpzCNQOgQQtHx1+xGczuioeGxkY3+0LyNBElPivDs39sZiiy9ksFaB263AHSnF9/EUoEAzoMUJ62Fuha+LIYJcqoTcN/TlkghrrcgoqoZzE3fweUvKSJ8/vIKAQdmNfzPCBgJCrXdpPZ7K1oKH95hcM2GcWwuvQKdtTFnetK6TqyqS7kGvI2fGMVSydAog9yAFGWeogSzLKBCWhvgXtsc4jCpP16CNNfxVhYIuREjnWMD8PV/uELW4VX2STyXejBW8VdG12784ynMnN/UL6PfqZPfOLaGCfcWJ9RtCYzuDnjfruAZsskW2JsMbxvmeXTTcnQ5L1xUpYte+zhMLMGhJXW5njlN5hnel06cFHDUyB2Z3bS9dR8tkbIisCcgJ9BQLFhWGFcX9rkrWZk7a7WbqDpD2S+g6P/Gsfjgxp0NkJLx372LfAsWKUNO8i+U49Vt4D26WS/QYWfINDdSomkkxUHDUdFJjdMAgTucxf9OGmwN/WQT+s4wXUdRDiBV/nqavm3k9aut4P7YuZX5NlbylRqR9RwAXBm8iIrMpsni3hXIM2dCkDMUoP/SGZ/wrZV5S1GM2oIQkfoc2QGPeAm7xFqGNKShisnw9EBuq2kiIJoU5pISMCf+5P8Q7+FK0I+yP9DqbDicBorzM6s2rSqdByrrGWkBurtOGYnI0HuSQlJQJleyqLixORULxxrTeHpj44jknTiMLjsphpwUm2kjkR2lX3owc8knEVc0Ir6B1ri4pUT6eQwXmU7HSurRt403eLaGHs3WXtszvsmmT8kpqdrv4qsAJpkwsnBgvoAvaXlb1W2/g7IE3ZID/VJaoWcyvTZLeCjL+FvCrmK1+cUdqpLuqYoWPCMN2Zf3pb5PpbuqwZiH9zY85YgRB+PLI8L2jVXNG0u7SznWQpeEnCGWCJX134+kcaJehVf3v7wjKc6utSl9bCMTgoORi9dM0u5emmVo8piDR4kA872UTslLuIpBBU5fBvh2hjuJfQPNrkcEl/FFR/xJOf1onorPjcPUs6ntM3SSDqw3MAaUeyWOHAo32wexzyM9rBpLOPNXHAWCTAB6erz+O6etToCll6Zxx6EYuCUDbtD6VV3cWp6D88Ba7+ybl9n7XHzduW5p4Ca5RAJWJr3436S8ofQNhrUclxiLjxNZojE3tTGOIt30cZbBUEXnWvDTObHNEGrpLKhRipgkKLrLEVDzwNOxxbSrTmhQHvlI/QkOUBb0zP6Ref5xEkK5/9rLI9Qi+605VN2wqv5TX26XRyoiIpKmgAbQy7VP8J5tV887A/xNN9Lbb3BdXDTkotBqbmTWd+fmQrgFweIKWQhD0AIg/HbUq/HZMN12mYl7YtsR7b+xsxToiBd8ar6JOKGuXlRIRZlZgJZ9mF4LvG+OOgP04eA2wY4P9NgeGj+hGUAA4m5qjNhw0HX+CciScbb+dFrEMDjzgYaMuFYfLFJXejYUCHj3wPXwGDldi2IjjN1NDi5Q3ItXDwzRhRVRED6EOcLbTvQ3RnIn2kMZRpUyJWdmmyIgSIi/Jfo76+PlbrOp7VYuJtnJioR/amu7rYBFOdrSo1QLFKjT0ZfpWRZs/nlKDSMCRNMvoFySSZNEPyeGsGzeBorLIqfJoNuV0PyaTrp/J4XwWFpp/eobvvTu7Euug+h6mgyftOIYPRxv6kW23FrPxK1mMlEkVSG8+mnbD3QR7rmIsksh/DM/qcgUKFXOLhpazevlpbJGgJJbR+d1XrK33ytLjY3fefPWKsqlxUtGpGOanFT8h3P4oqH3DthHUdYXnjb398c+d8AyVpfqMK5HjGPFvT1Dm0gX2YFdNOT2IDL2awFA3U0ENl/MqhW7meOd/aifgqPn0bsUR/KdWmR+bfraibJ7+cKa1IJjBkX8XlEMQedV9qWYtegUMa0wPYqQoTSgMuMYxvwi7lvQIrIHyM/GYVouhK116CxAOA0Z0Vnhw6YbuIZzF1VkovwkfYf3jS6/ArjQ0vVDn6NPWHJOl9GMRydotc2s1J3Tay3RdTu1UIqS+9fZSEt/bq1Flh8NPUB2Lp4Gh+jxWWvy7zmBQezg4QfUgMOJJNVAxLFOH+KaiiCijUlmRy3J2U5+kH2DjIocV1kFauSxgVVeU54nYjxT5Rfzkgi2IBM+WlK76XiIqZwUKSrRy4qskOpBF8FHJtJmB9QA6m+RzF2c5GwzJIanE3UOadVrTHTeXkD70DlvJQ0EMMuXzXtbU2O1FCs3vCXEICZxFjWL6ytVK+qGKy6WYGO1oi4/diZB23Xus3SQo6fLm+r6qggxer2EVXbCfho87MgfJmV8/sP+Dr4FTjNOE8GGdi5+jp/Tfy6YLgmc0tGcTOHVEwWpK3SAY+6etrYmn/gtPBW/Ntbv7QKnSyQPb4f9hzPpZQS4VBHJB+QQIDSzgXc44P4CyfLM6XIGKHmnq1Px6pwqae4+jVrqKyP7WKc/gcBYVAU3r9D3rOORw/BrDNVUCoN6+TsMjtrO+rObpKHtyqT75TbODpq1x/ZcZLbxq5O2ggPgz9YIVpXAGuxXVbJYNttPawtj1tWr0MiuEsmZNNP/TXwi8be9CYkgxoid8/d3j48LFmV9mzyoARBbX7JOvqu+bh/HXvt3mLJcr/1f//BWQp8abS0/EPPlpmIaTm4wElsqpgS/GO5qQAqjGmgFRluOhUCFtSb7rQgYplWHfkDN0zVuGDUgjYNqbuCshXFG5B7o7iuAsShB8UJrAtF3wSaa2cUYyDfdnBiHqv294LkygVpfgpCEtoro13ZXk2eS0DbKamOvg8yYXJYsjCBHS8v8fYCMq+fo+RgUQsyBpxY7Yz30Zrh1/Lze+ZDtgES2E9r7QqzgTyH8FFOTvNJTyGZi1QkIRfVmRIS6WJP8BvNbest5vsWL1w725D/zq/7UhemD7aMU8WzjIoVZOrJ/dEWOweS4TnZUI2q0SBlfpkKpvv3qUQ+aXM0sCq/FAXOALlxIWW2TzFmo2r2L8rk7bs6WR4MWtEDBv1HxcCEaoAkIc6hBsXtkZNEoexSfVZ5aUAW83+QZsaOvYnFH/+MH1sPpMNBTLNoqICp99wcSV8kmAojp/3OyJ9JsoWJ1jR07cAEk1kXgfVLGhBuxc+FWRMChLIGne+O3DFyzHIFZZpx6s9aZltvgqsuj38Y11haGyfsX6mm5tIUwoSGdYSaaNGStZBcVmIMWsrDC3T+ENwZZNhsrt0ga+4GuN8Mbqnis3PD7N9RMzJtRquVSAameqEKun6hR3PkWuE5K3V2k0oamkBMdi+SKL0h97BWSG/uxv9gh9jR3QFNZDyVlSKiE+XbjC157LMY+JeVJK4E35BKY5zQ4E5kJIxMlexPkJ3B/GaaKdE/0zcNaQwlfzAJH5xydnUM2S10cFl9P1DoZuW4svolrcp4AZJKYTPt62xmq4YiuZL4miw0RGVZhGop7Osnjvm1XYV7SIWNivT4jixh9SbaYmmYaNTQ1akVuK0J38DtFf9B0QtVmmLkDTbN13HJvyAuTHM2hJBcpehsg6lXRvJmHjv7kSR+Kz0ot8HTj/rapv6eJd/NWoiIju1yjGIL/wTY1mpf+0yV1S8o+i/IFkkAx4C49vbLlZru1tGlHIlxYgKsH53EuI2wBOocrM5Wot9TsAJBc2LizsereIE99YPfPSb2Qfwq5XqsOi0fmSgV6mnxyejuWnNQnwXkwEVrFlNLwBXx2guU7PlpANgqy0FxT7ezEDbNYxTVuz+IoKJ/d5sjtBoYqEtGyNKspQQiroRiyfzYJkpLOIK5HySeLmA2zQi9eVuvO0qBdiDRKWxxtd+XXBrI7BJgYAc8UUotR3wBaRAPeOOdoj4Dhh3IPyQ3JQPwB6bfXfoDErf0h0NAMjEZmd8BgB6bxEdX/V0qYH8VkkjVuJBJih+O0eYkXo24WVhYUygdGLybBbIbnk+8LwXC7dOeINKPG4DGiWNRzri4YTrVzz7sd54OgoVfJvrO70iiDRU0Yx5L0UHvYMZtzSz6mQGSyEMdSstFQTPwLba/8OFANoqUTBy28cT7SxnLjJ9FnTn0NQriFZ2rkyD7EAZKOprXHndfFg7THUX2WCKkzrV4Mka+uL1cB/2nLgs42xkjQlJ7c0EqB07IU11s14S1HJd5945Gt1oiNDELNpiZC7AtpM4kfkluKmghnr3knFaWKYfc/xAvw4IxyfAx4qdOgT53M1qu39TrHXuR77zOFSx47abvcVGLrMtyAx0+d7hILqR9Vc++skQr1h2ZGMsFJ7NkQeqoOaFvHt2V1MkWTrkpmWvqRmtRTGzgQmPcXCOfSVny548W1Y0r+KWHMyr43UsaJUFp1eVbrZXnFxbC6k2piMB7K24k9T2TFaYV2XV69P1JMnaZ2cjuJJXpZ7mzhUdLBB5LJbPdgF24QLcssQVaRNQMUdDsKykkbCZ2udWj6J0ezZk+NDPPyQ67l5+Q/Zin/hGVDuk83TE+o+m1MTXXdm+DY9PXHGENypuGJ5e28mVzhrRxMLGogq5L3PSlwtTeGUQupJa2J/PId+k2ZJN0wuAxtA6H8Xmu3sTWiQy8yTYGqYw70LDAwkdnjHDSrYGz8bm8+riDwyviQ+Y8p4W/h1EfQMoNFmroBdK9eDz2rg0GnABdbL7yRama1OMWxpvW0HBFrPCv5BOULXjEhcSVyLuxGPB8lC4N1DI5xvvbivdv5ctqMVTjNNecT2Wk5kTZ/BGF1az5dmbHIzEY4+oj4xfwKyb7943qdDgKQxPBRAl2HcbTGRtDH8PCavNxMr1sdevJ3Gdq1UlEuVpsbJ3hagJ2z56SguOSU+ph9t/6XKCvAXOsELesZ2AGnsv5+l3GJilJ6PAEUAU4hhDMxV4+/1p8iXWuYQLjNOt1/hu09IVymbYcHxMtZq8HUD+RvVwIfYdgHPdm/Yy9hfVh4RJzH4/dg7ZAP5nXoSLd01TL26pnfJdoREnMyWMupsR9aCJf55C6uhkfokOyCOUGu2sG/cANBKUPeVkeCHLXUdpvysndSM5Mesl08eA9HgFW4kHhLQ41J9RXP1BoqAHpSsxMHg2c6q2E5SRrP9GuMvl2pWQjqz2MCY0nE2jJRoBjlYecmOowlNGuNiaaBPJhl/JlD6wuF2Jgl/oPczAFd6LZ4a2gJAIIkE/s3QjCNMmzAgQ062QLzGBpIfacyk9GWOWZMRWdQiBJY8VL2oti4ZxKkVxinoW+DdTEX1nhkWDs/rL6A9xO3IHCjf3BTQ6YblGRnG84D3zI8ZV3Gy169FEWFPdNVO91DnSKIMfzh9PXqr6TFVnPUf7yvzxZhahfTMuY3sRh0jpRCJIT3CvP9ixpieN2v3D/JYZ9Ax/jbc9IOtAk0h535fxM6bk0T4XQ1kKy7YKwzdp0Q0nVI5Yzs8xrdvOzin/UXbuVZ4VqvyuRArqodM4u5y/GYAJwHZGIVHe+u5BIdtiO9gweXuxMhlUSgnZ5s+qJLPzY+YAAjRXxhAHVq8vGkw2QIfXr+p4n77qH9edR08vBD/CzqbxpJDCIJ23apyPG0EjOA16GqDEDadc+vLdmnc89UTtCblBafwaaPIY6bB9ojLfe4CYXgYGBpyr9usKVnbI51lTcz3pRDfCxKVXDVf1IlzMN6iMmn/ARP3e0gaHmLmwRWqeJkM40pjM6nEmHSiKUVidYQ0Db3woE+1J3hiHFfa9SACh+SGLYBp+QMSF39L0sIygIPjQyYnaEeDqJ2efCWUPw4LjJMhBXuMUltEWgSJFvBYMNMruhwr5JbSe7ubdyfh8JW1mURSOmMgaowvhzWD3p0u/OdduGzlallXBzR0hHrLUmbB0wAKGAwIZV6Dqak64Ro3lq7I1fg6ZZp4A0svq2J46RcakcMXd+DLMHL4j2zcPkbqeGOJUCO8em4srBuzReGDeSsw6I+gWtN/gUKQKblvnx/5GtKcExP9wihZLQhp/0L1SfTkG/RjXYXsn4zuipaWAPowb/c0yWztLdD7lZTij+U5ED+P4jHTaDvbucI5TzKJdFlNnrtULYfNWNFzcsMdxNqFc9zkJnI0RgLZK4zRlao6lkX4IA3bgcLreLCn/D1a0qii22Xh3rIRSYOBN8UJZEacEIgM7zqnN9BD8BkHfEB4pBs2GO/Kbe0dnWqld637jCCAYxXGT2+ly3meCVPW2+lhJCc2fIILLxnc2CXEJukxZ4ixoMPqQR/mUKLUlNYy3lUdyfvQAR0Qoj3emg6CeY87ertPUrR0d4iO/WKpHrJq5VWvTnR9P+j77l1wViTyEYBGZ/vpT8rsklrPV/jlmE2QcbPopgv82QW9tRiqc9OHk3+HMAgWOnSffGPFiocxTxEntbw6rEZKpt9yviGev2J4Ea/4SzX4JPst2zg9WB6DfGHVzuYIAKHSxGF7EX0eBViVHI1fCCiMZBVTY/yBR4PXGh2wlS0Nn5xieQG3LcQnhn/mgaJclF3ucQWHcwrhBGjANbfgPHjS9A/K0qITY4BvLKsyL8MJ3eM69O8Xxm4mKMipr3A94mMafI9cLJSA/j6x5BlNMJfCTpirEijE2JkC5b/oyeZFHscB/P5wdmMXRy7JXf/SFUdspuEECHKfSQYdLfKBj/7FJCGpotNhoNKg8tFFajkcHZ+jlV4ErZnebuexrh6RV/WWFh1aXZzveL6nwbZycowNKjolYpfqlLXfCNlV5CataE3gq0g55R9k+A00GQfwn2Tl0PMnORXNVqnXdVKbDo0stEZeohwJ5TH8+CzxMCMH69GXRWZ26UhvR0FpaPph8Ct7v1cjqoDPBkoeiVTL1nVu+02X7SmI0roqvRm7n9buQ0Ad7akNGD53MZxfhF45hPELf0K2JCVzqJtFSKAceaSKa0YEVHfSk3NJ4RmSyA0tqw9kMtJf/Rln/X4j+r/Z9uWPVardrIIxw4cNnl3Uuvou5yhDPjc96GfXw9T9oFbu3ZMBQSUdLsQnv3MEO9aJbF6AM7HAgdkCgI6TUCr3aZsRNe9QAm/bPyFE5IgiPXLuPQ7nNG3Ab4hJOPv2Ikb7dblbEmIeOG3J3qsBkKAs6q/FGu15F7RGaKKpwU1r74uYtHLi+fjlMkPHAuliGFIZwyOhElNGPdsIh7grZX/sUZNLJuXZktLX2gsya0BHaA+7cmJKts5TVvf+m2fyX9jeodIfCt9sR1gvaL6sNkPhTdQ6HP8MlvB/aFPRm3Nlxb4SYxqaep1Tbo+BnvSos7Oyx8iOZMzKCVWuSey4UFMRuapQooVxxR0ri8XCkYaPS30t5XrQGf2pokFbDJ5QhPLm73DMYGhZ2Pu5EC70pUhu3f6IUQEDlMnuHcFLeM8GOeJxcHNDj2RGUKW77H+8ixE2uoK1uLMLsNErrthaN8iKZ+fW5vMcVL0DW5BiKIIJoS1KgT4Gv2zg0pdq5eCGpkofR10J/l2aKv5qFikj6PqbMiyF/5p4CNwOz33oxcncdM8J/g9D2ez8eqwWBPZNlTwHcg2JofFhZPGEHYB5t2KkmJ3kj6f9H1fj26yhFT9j9I5j8jklhVnNYJqBxlG6Y1Vqf0fPTbAFWBUmmPs/k5Fe04fXAVbCsto3wl/5FG6fRSYe+22vFxeEIAkGdo4/HGMaLoDSku3XMhdbS9XRPaxMhxtyTQMWcMajt0n/wz9F92WZK9aGWqFjAt3lZBENON79PMnNBbwCeUpS44aXMjIs5EHO9xbfrgLYYGUci2CaIKJOc/ILIy/WsJ5mumvPG6GjqlwBxUj0GD5nZh0qJCgqVJ/SAvD4288VVWV06GU1YwVjE10r9dKYG5VH1xExOUK1D3I+T66zQ76QFP9vdASz6gPGLhcAh2izJSHEv3KL+AT4GQSHAPO9Plyc5IPCi2QfA/WwrZ47QkB/u5AIKhJxvxzSqE+yepz1PW9+qoJWX20vzX07vKZMo1JoX64Qb1eAD8F3yXiAY5lkcXZ1iBM0neiQISIuX2aHIgtKhFC/X9xhABICkzGr+Vds9UEnoeNWaXWP4M3e+yzbYpiouq6aSEy6d0D83KRHIFHvFZFDt1x12o50Rh5XL3lXnUwTb6SKfQU8KquysGudpNZEYwAqxhRaJX7jUy56iBOvKwnpdHfNxqdlJuabf91ki0i2xU1W4A4PY9+5TQeb+iwVOo5CXhgeqUSfUN9kJW6h4YXrdx5azwzA8kfQAgHOkTSTqW5qoRx/BCcm4XR0PRpjP2nPRRiyOY6RoYiFQpckpq14rYR5m3LnLGRQwWZ4B3AA+tWgxf+PLmBCRORCU4viPd4RnyoeET0EG5xTdYKkpfyr/4ExtNwjE5JOZiK/iHrwho0wJQvjq/SyEjsLYIqYavgh2pUDuMaM6xKjCUpb0idB/rapgixgx8GoF3yeFoeEvj6SNxSn4zYMXH2HXaTZN8LgqB4QpjGlnyVvlTBEyj5CoQq1p4vQQawgAU+rg/R9zl/MiO1ivTtE9zE+3jXskRJU4NUWcsAw+RUZbgyUuLMlCcgp8M6EpkXz4hlxamChcdqrzJt4s1j1suP3kE+3St/5e65zxbqkRB8lkmhZ+np0yRZ/mJWb+6IPGRpAaue468+ds4whVO6zY6bc+8G5YODmx5T9Yh1C5xEMbUwIKq5YFHeyjkZAV0roEZ+7bFmF7RtR4Zsdd+oYfBrAlbyAEIOXba9sOtNGJn4F49KC6hPD+0GjAGq/Xy8js9lGCZWhKTK49/7l0lBzFXAbONmuNcCw+q+6SYOQPIpp2qZ4BBlUa9837kRuU8rzwYI8BofNsZTAzKE4fqcu+EGnnkxfqsZMBSUczRmtHZAYq3klvIPDMZ9sJ5DW320bD2Cz/3xLnScP+j65E/1cNOpl9KVkUnivIzc8RjZzQQUm1Yf9RnqVwtfBb51StaJVRNqfbHGeDEL86yM6P0M76FCIg63Fld5SlBnB1H/xSH05ZIutlDe7YOs3vXrF+aA/1v2Wn2ZCsd2svcKvdH82+lNm6dP6NqEW9bK5dijeAzA2l9yRyeHbn+vEtivS5xyAep3SIGwY3U98pl27MTeLYxnAaUs8lzZSWnglVw6p+EQRBl9A/AmOuVQszinV1PGblV6dYAm5URdlFjPr7QsWdQzTe/ktd3HlgO3POjYYV0ohPCAJ8n9t2S3JXFoYk354HnH3Ce32jMCJ3ZHuEU0cCCErCP+2ZBigL0m4xrWuajs8jR+1gI/SByaAJn8qoAVcm8cwSpTknrbrJOdbBb0eCnHhPX8ovBZ3/9pEDcu2u6seXoWyYgelXbo4BpJiDwq97pXohRXf8MwkPdNCckqwk3mqO0C+qs38+rIgriue0rRpRkM4xUawCBbaDz6yEg3KQL5abMAyCl1vvpgdOaWGGpOp2uitsMsHLWzzHpcF3rpQu2wW740Y/z3hDRSdPoyaAGVfnuZ5CaXSOZEgxPsrK8K1uIdHIPTWxzregIkE8ODdDuDVRGT+4HhamBFYDwqsCblxsDJN7CaKXV8z1WBr8dVmhMFGYXPfNr/5h9tP+LT6SWuGD9wAFm+NL69QL3Fl/NCKgXNKgn0JyBIlYdcGi+PVyjGUX/UcQsjt/Y5yJkV8jvvXYUwpkKD1Vq35fiLLD0tIK2LEUf3N1r25/tS1idq0kTzaQUKyXykTpTYoAWLepenyGJMpKshnIS3QpmB437qyqK75pgJlW/HfgHwRrmjl8/2d88zUnhBvA/zZMOdM0tS6IB9zCyfYE2oaLc8yOCrswKdtSXH6X8DlGdNuCtM0eQK3bi+9MVJ304+ud9Qkb7JnQWp+CGb0hBZQPVh4bOCwPkir1GSffIIQXiR7aFUPFJayGIKpnoo0KypIINetZ+u2A6tiBJodCOujmbB+R2/LZTzMKwmVYjHYmSAnS7EQ/TthQHBbFQ2cv207UF2OcQCwFt4/1nomXRCb88M6P2+rb7C277/ttjJPxlBrY/M4yMEYtrhl/PDFeNBItLaT111LYFWRptRyc9zcTIxBuV1QF7ZeaqmLazPZhKMuBglIe5rvNEfRr1BsdE7e6VTAumXbafpRHFbA1dyYgK2D489Orbn43KBkOIH83DwdZlez9NAX1r8/XNLBhDnewdXRU6/PHdKeNvc7KjhXDnTjyvbzw9BdPcVMtXIWXzPE7blGl2cuwxN5WjmkcoLlsSRzAEEKupNm8Waw0GefqLQZ4WGQN+LO/605sHzCLEJ8pCbgUX2cbbue3MBC7C7eIWq/UK/VnmD1tPA4WqeltOwnD8WIjY4+XVcApc1gUSlpdaeVaAaNEGo6mCR9Dqx1/R0rxb/dUqK8ku4OYJFcXk84Snh1MLAoJfuqOClH68whb5jTPJSNZ4de0gdlYVYC0I1vgPpk/7Hqup9jjnATxR56NQYbbdfL3xlEchJ3dS0qvmQSojrijahc2bHDN8DrSAFOnm0wzE0Kzs4HclQUurqKfDAbdcazoMwKWhlRPaq8I95NVgyoRIcpM15fJavtzmtJxCYqez+wLup2YxH6xM8EYCAM7Q57uP/65bzvSeaaHflMcc1DA43SO/HNfvd3Cu9PuztAeg+ZPTAg2bnwbFpsd+2R+RHYScsUPcedFMLD3/d9VCf6zgp46bsfHA3jBqaGsDmdncQQWU61oEwLg81m2NcQOi7QojZFaKjomICWGDBQavWCt0XrrcluQKO6FWihFpK+wB7nuW/Gl3yU5pkyfe9DGMJWU3+52wmIOPKqNrXCQbApEebEJ1EVlGM2pP8kKOx7mIhTD4HPEqymWHANcE9GHaxWRv9TMx8VKevdyycb9rm1A5vlk2K0jDyo7nMTETukFNzO/IJ/RWn6OVu7CfpzrkAi8dc/mubZW/20zspZSXQDMyiZygmPIKFC64Kz+hdyF/VBLDhJ0uIP1sdA9P7Fi+VDx3rVTwSPXaXJ4LwL2hNeEQdLe/P2DzeaI+0FdaXRg0S0LzL47CnrA+C0O7SmXuyBnOm6dQg4KpOO+xQnA/WPB2XHxyYK7ILVakSERASmeYEvR4yF6oXn4+QCXwK4myee2HiKHRY+p8O5i6MO+FpPb5iLD5kmmPvLgq3PXaQdGfJGCTr+ZMWTkG6fD/HvvJJCpLxbHKXGCi0qijUpCmslkj8i/3511m+lduDFTPe3Yie0FWp3EVxsLPgTHB0qbAw7nw1xZE7IckEccThRnHrsEsBG6XzfUHoI5KH36kobzIEdlM9BHmATq2IidvuXB8p8CQC9tPTiCaI29RiR9DM1RS5qmrHbe4sEiW7nK9FnCttnLNlj88cTHP0scDWdBeHGZ38Ujm6E9D4L1vdgNlnyrG1dswhskibJ0SrDIgFZL+8Oa4K5LjJjTKMf31QRBnxcj/eNJLTkf4Pi7wERgLUJroEK4O7iHX/g9gpWOVd3Ba2NIOCByk7/e5GFrDE6SocSHOJ9UbFgNihopcajSP/irlBFS8qR0cOZ4e/02HIn6dyea5kFkBXdaFGX5hjh89FvA4ncIv/YlxlhNd/lrP3jpXERJSdMPwRX5k0Wp5g1qDRdQSW5INr9O7G04IpCv8liAchJJGAcu2l1BvIxT+QF9s2w0JitFnpX7Cx0xnKE/6KYkiaOBRUTYFZAKkWkkHAIAFs/2zpUUxJTPQo7ZMXnLUv1ZwjHHtEixGMApT7u5gNPBpS6KgzflsFbCB/6tFd3C6d2FlOS3zIIdeEnDFlS0dvkDSoxhcfc120qSAkIZpy9imQaa8Wsf+4FpxfZXu9wwDBMEwdtelfd2qCivF7bWfY/YFBY3572IC7MPAjXy+WTENsCHdPVi6Gw6tvlAOQkjQXDHai62KwFXQDsEB074SYHh/j2GjZco2URUnsfmcgCHBBRRhUNxWEsbEtKVmgVcaudtLBfzWXHYJz+46xR6ROFVZgmAHY+czR1nJnAwxqFxzw0w7Ww4h4jbtYXWYGqnHNS1JrHLwp+vRvwVP8IHIskEk6+qwcsVps4nJkSNPVIpWEA8sPQjC1vvl9OkZfnatEIH8r5VbMzAJB8keZWffetqbTuVpD6a2Esg/RjfPhNay/EjWLYS/CtpySKTxNtcNYG4Kdtq0I55eOmr/WeAjnXmu4e8ctovmwDv5nQh19P/71Obln1KY5AnLOsrtz4M8ahDJqHSkw2NywjV2HFxN3+bbHtOjgg2z3rkkit/JaoN3M+xtOx4AMhM27LOM3bvG7HhrbEwNBM1qSFWXudhHIHmBCIAVu3cmWXMJQ7KjsLEeBXSOgPepgSTyF4ZL7E2jwSmpdtbFrsi7dvPO7K30m6J+DH5mtcTbNSvL80KdLbLCQJGJwoUI2QgepYXNNlt2MI0EmJZI0arTm4BgIr8ZtgZKT3SFThelSapydJeVYjFYRXWPX5XnBXqeWmG84cBDs1nF9SqjTcdBynXC9Kdg0xnrL6+gZXyl9uuj7xj8BsZIUNRHBfZAZq+SGb3Ex8CQc/VIGJyLw4v/WldMQhqzbh8Y9ox0oWXimCCQ0+3w8wQ3Xej2nwOznKBPmiRem+Mu3jZ0JvTbAP81X5HHkR7vMQQZpukrx0JvwMV2PjhwWoamCYRp5ynuMB4snBITJIndUTIwd2QqRuv1ur08dh+ibf14C2TbKA3yTGCsB55FWox6+iKZDuTz2n1kpysGU9vLLkNAjeO/4bQTGdcjrY9d+zp73lKv1p57lHIi6adIfBiJ1ykc1Nw0bZ1PMmMg1dRXKJSimZmDd+hYtIZztJ5UppEHWDvadXXHQ9TtKZx54tvrqylNjlBjwds2ALLrZsXEY1hqB61AXZbKkQVbxQ2XGQa1mQUtLu70UvW2MQYTmfp6JgyP82Odkmb2hqKna1Q4SOsBblQsg7yeXiqx/5htoB6GnqXOwvGYp9RQbqZirX+iJZee3twjiz9sn7Tidc38DJ8yy+E9vmRkk/rhd4U00HQM0S2UOLQFv2yYebEDHYZQvAUaefb4jyy78MkpcIm4Z1FDPf655NPxpaF/a2hYyN5uvEae4xbgfen1kn76NldhEZUKMUbuRt9VRxgQHUQEnXbAoUhvMjEpc4I/CpSA7PgVxH9347djngav8y1nrgd/unusarlcyWsad1o2Mm286CxXQv9hq7N4AbRB9VqiVirkn2V9E76gB6mmnsaeu0Nb70tSrLjv/5Tkhv5RlOSNqsCapRNtMFFlg3Kn47cqMuLzJ8po7Ykld4ofkCMFK8TERAZRVjx/BVfm2jFNFKR8WO4145jgL32MHDSnjhyeTD7GKRr4O+vT4yp/Id+o4CHqvDKxrY3FAo8Fhh5bjzFmwbn7S6tugJfqwc/G6uTUzvrFWmQUZ5L7QAHVxcsZW/mafmHpx9fc4jkjyMbm2hRtdlMAuJTAcZ9pQqCZ5s/HKWFoU31le1Q+IuE8Fuwgv0u1UnnUfoffFLfCZCNp2a+9b94uWYIic/O7BCZqw/2eJVwNnhrkpv3OKHrQ3gx5+f3Hoqn7k6VVw5Fy/26io90hy6d8sjCUFPXafdDHn3bt3BRD/JoZIKRHa0wheEDLQXXy4dB/u2xfOv72oZQLBXeCzSPNWqF3r18Aoprm+nXFm7r8FM5Jj+8Tmmrm2p/hnf2S/PwAhfLrAWFAVLKP/Alig14BYFC78F3awUhRZAmypLGybe6ahSwico5cp8RrORFW9Cnjx2mLk21+CY0zoX8ML3lnCee83LYZ0kWYbwhOg1xABf8PEcRjaAdh68McZECZ0vhvRAgj6jbpOTpz6rv7Iko+fZ0nG0DFm/5uhPYivR8TorNG2sl+ZynPitxS6k79VT3IV3pEXMqTQHPzLJTha4xKYzDYS4XIx1pg7rCwwqki1hVRL4i5QSK3gRKWEdV+atsvXqR95gNChovObznPr0P6QyEhKf5kNYqWf860dYn9IFz+Y6n1gffSJfH4yvsI64UfD29SEW9Lo8xZI9lDh++2ThVnIYlQEoFGjIDUQ/ki614BOGgepNcgxa7OhHj2tEF//xkdPX3NWrKVPok3B7Z+Aa3jn7y8mAa2Knh1xBtwQkBabuQCMfTYgCy3LlbpG8wEVG4ailPzJt+HnpMgPOnMCZAu0LdOxPbF++sK+MYxa+gANXNbNeYW+mNRmb8Rb/50ECkGqX9VrS9QbpzWuiaheBv/4+fttv/QW7mgC8VvHg9cbNZeXR2aKu2PlxrVtxRsUQv5N5SBOV+Mt4F68GP11qr4UbPhXX493twmHxmU5XS2XV9q1gGN7/eL9Lt9RrVL75m34TeTw40Dle+kcUr8LV8ewspfF4KMXF0VMgCScCVyN+JoiEf8+W8SqSQMdTIEpjye0HEveHYtFwCa6rqG8n4ourjIw+hwXanmxeQqaZuFk1MyDz+xTV9mRfIwJWzxVghgTFzrKT6P4Hs+HWbT9/apfAvHtfOey6qYhw1kYpFwbIi26zZVrBpnm7lFCJWN1wBX8kJzYoa47eng4S74GtETetKem2XFRdvgxN1kmhNHqtRbeBP23FP59J8LvUmjsRaq8ysoN2nYi5c8U3Kc65fO7L29w/MtxNSGZOJcyI4y9E+dlcWcmPZOv/iMV1R8h3qxubrnQ7hgxTYBshPNBk4fmjpznRVUqEMJPvVDC0KgJOOX8fJGUVYnNcyhtiVfoTA2ChE9ZqdNBKj9rzdUgQKhvHgfFhURMt/NTW9OSH2S8zQLjjnlI5YwIdkXp7Dtiv18Vo3jLcbQsPhSfbi7xMi4Kwt1QtK1PDTOgWh7f5Fkmn4HOGMIKTv99ASKOS8+VhzXnFuvNCsTBW5XLIK33npaQ/3r56m60lYqYTHsbwZR+mjjKAhR6AtPa8n58MC54b0PQ3RT7ii1FVKjuN2v6nnTnvXV6lkVV5oQ/onp+Xdtu5T+OCKrNElTQMSEfQYim9kNujLmZ4A0SsCVESmFHDdBZpyIZWKGeUeSeNE10nVp2dvr+ADnViTycyPGUo8J7Ibh2NCTIxOnmMfGPwr/f31Uh6XRlmKcqoPiconwoxW1NccVFLvreG7VA4HcxXP+U+KSDmnsjCz66owZ7K9r7lD0Qdx+d/D53xCjM7G3m2Fr1OKbQmZbPYRBu1KDZ7Gln1DRGPgG+52qsljqPcMW/Q2gfKUSdytekhJ5lFxWDsmCLj/p/lfYmhHtjqrDLPpK6Nx4xnOA/niW83fDgJuSls7oSlaRYqkh75aLqrNIzivxDbGAnPT2hfq6iwSjb93kWmJKDPGwP+GnG6vPQWll5bSvMwTuYpyoqEQXb55J4itbd6nxcLyETPdLakCuq447tQ4Eh2VQ2lTyvY/I1kU/2ieQbyka5njjos7cCanLuoS0jvRvZqEm98mKpIZ+OO/e8QEkFNLdWwTw1XqHoc8ZnJCUIDvXxZsFRi+6C4KF+3C24/LWXQ/55jfujWTOb/45okujvBWp5kYxA6Y3awynSJ/zjFkxOrQN0z9IyPdevXEOYvMyb+SPmOQIslgBBd3J6rjb4ObZrqmpB6LI3a5CJmAi47zLj9Ec8ZTOca9kAKkgSxwZUNzDlC5PEq7MnQBUEME5S/s1eqi4CDfvJnIjlFuLtR1aUVnbMNWDLhA+1OhuGYaoHGJwjS8Vu7/F9FlsKEcIjDJB/5OjalfLztdUKTRsDl8x7NeFZStvayqpN1QZggn3f16H6+lAzTWS/krOTsZ3Da38OKroS1l8XIu4PGv0COWakLa8mc0ekl2jqW2HahPFnwceNJeuhlEtPz8iiKyI7eEWqG+Nujflui/jeb/8YGN1+xR3AsRasB9UTZN2AoDRzrupyZsGrPD2coaDwmQYenuEoowqlbh4ZCHfQPnJeXO+tcNTfSCbKzkDfnm4g6HffVR0Kf2Yp4+M/ABmH2SqN4oco9CrlRj3MenDdKQhEv+oCPRoO3lqcccGumzrOX4jPWDXkFEHrqJbAmGAVNfyec9JSolrRHQWmab+MqiA+q0B+btQZCX+pE1lLFpxEa5SrKNDZwQEAMzH0kgiOSeU4EIyeoT5fY7s42z+cQt8VDUGxWRw8zqtJOspcUJX7ZyICgWrcYpG5Vg1weqpfSRSAFI0HiHCKA0c+AezXjNnbGIFo1+L+Z+kxbTM1aCl+7vVi94gXCFf1t39rVCOKx/sBxuoWJBF4zLIUwfPgB7+ZY7lC4RzL/jtCArQ5IMUb/MoJ4brP/GR20KpMqCrhhiMdQga+C0QqHwe/jhSr09fMKtxpsVltcIvsGHHL66ORgfDBh/HQJ35tGSIUKOpRjADyudYDNmRoKUXqqYWq0OnluJKEPPLzCVi6aw4LMtT3inS/lrwUhTBiv+HZN4dDZn5Hk5iE3I1dBkcz4qEwUopc0zbQlmSRCe4+hZFUEG5FZUmtQXBfXbku5lUac13HsgqC7d74Qxgv0KNdbtEHyTpl+/vw2HP3CmVPb52sCCxtCndNgMSEhpsUbgsnzR41ksqsQOikcT7pvV1a62sPzk03Y1Q+Zg3TITV0b8iGKFBeScvqLaxgmUpCdx9Ehzs9u9FU2CCo3blI+0l4L5cHryLD8sExSOs/e++w4lDnei3eP4G8bNX4ErzuhloV6jSLNP0sIGjifdLQQFS6HMzN2kqHd3cDnr/7svLVLqioqRzUYj7jkjA5p3K2wKYlrRQG3JgmvKB5Cnn2Kv6gfwdWakOQPK7IDvTyHiqLMENDAeULmltfVVLoKBDR4jr2/A7AJvWXQagLyC8vx0JA8jAilcA9LR+5Saj7OC/f5a/2a3KzqtMnZyWXmDp9M2ZOU0GO1FpWEbk8NASAU+pklRoW06PwW6veAh6mXBaVLRgzOlyLzvg4hD8rTKr9TjrJwHF4Qwq35lz+huaxZdVRffnlgp6pMPYXzd7HHaRDEMAOwqfzaMdSScy4O8Ku5RtgWpeP0FlFsjkV5g4UedyW1YGfF5CSW5hhCe7QagP+iGNuEANhBOa6wRQCcZW8lWffPEytuLreNo5e/+KWDiaKHTAlgjwfRfuPk59+lQPX1b9KTt/77q6GRxq8UeQjt6f6P2nCW+8Vy23zt0lEPA50bGQ4hzsi7UmVbrUhCl5hZaMC1+yoiq9vcwn3nliBWcIVNDY/uAXoTUFW6qvFFwWRa+3D+gPLFjWV3bXa0oxAP+osaRyN+Md+AP4znJOWDO0feI1KSgR9in4dzN8W49pXSihXG456eFmx+W0TiVvOTalriTbnoJSOhF8JVpOlGsa+nUEPPtTb/L0tl0fzTfYOvonuSXbat7tt5wtDZTTaD2fzPT662YjbP1FGyegOkYm1DywnW/gfLFj2FgOoBu6aZ6GYMvkwxED95O3KjdJCHhEa2ahMVSrneXypLx/buMR69sUStxkLVuP+mOb8XgnjqSo89w6FT9Sd38xBcTSGPZT2V7Z5KTTGjWmAV98dpbwFC1JwC8eRL4cnxEnVD5eowbXI6UQs0d+V/2HCHMZFlw64m6O+71BQ2zTGp06DhJK0cKiUPIhxiBbhYfsTzcMCkTGxAlSAfMLq3eknIWCdTeO2o4PEQGVJJ6QRO4SnfGCTBeUqci45IABduDwApK9ELB9ZXVqW1rzcotJtoq3BGFxm1K+VP7QZChm+FMkk3+Vd41BrK44kN/Q51eFR/0OIbDT5V1IBIG5ieMeoulIfQbG9eL0txghTi/fRXkJN3iA5hQhnJC0B4ww2E8c4wMDmOehCjZpH/Xo78mfjn9gGmM+oU+tV7JLfZKw3K0VnaLFwxCyoocMTFhDMRvk0Vx1OdWfRVwHHwPAbx5/Bk2Ptf3JUrLpGUvG0idcHZecjoBjg1ZISie+BT9cI/FKwQJ3r7VYQ1KR8oVjrhOMJLRqufGybRjWlbRI19dW1XFJHjdPDx5BsbRsCstN14xV7+SSpJR+Id18kdol39zq9sILakaOVZKnwo7lfnWQ9pA/tegovmN+VAQ7F1oQa1cCxMc0yjpO9ptORd5paLJEanV34e51gr2LEKLpnyvyzVPYEeyEJGuXtryY7cfxkPCNGF2NIKEQlBcByLZAndlR7lJ1gkoNyijgvxTLtc+qYRoopM6nERZ/Jad2xHUkG9bX5mAwYROSYXT3H6pG9nRxaeipDegp7wPiRYYBXL3eOMQmf1Jg8y/Evyv+hJ/2GMo2VGQff7GlW8L8JSTZ3EFajVKvYYa1pXAVDC22MjVxUnxZmcXYmQJpNFxsanwmHbZizVuxNOP43E5FIiF7bq1/7cSoy5aI0hbR0gQbAagIPKyh14A0dNNEaNbl1fzun2NGR/+UiagShMKS/ffLwx2AfJLSk38LgT5n5Ot/VnLzvGbP7WVbcLN5I+SRS0dLv7FppdIMZtAAmJToMvkT4IHkIgW8NOemIMMZxA+fSq+rDVR64te0PkqfNxrLinxPYQWadRavAPNze5JwubfR2mHXKgoPRuM2xDurVB5jctjJyCDEJ7hrjVREqDdma4TrvsO/03KSqV7a9DH1D9EcNuuHAd/yAwrY1S0/3S2DeUIKyB0nbVnaVFtoTlMNvSTv/L4QfAJlV7NzKG00mUaEJeMgmS+VvbFRuIb84G7+uL71HyRNZI+gdAIetX0dMWQOKQj/zwG6nqC/4Y8yOGFktOCK7zoi8a8Em10zgShnLVq0t8fs9lpD+8wOxVuBoHd3k6Di7xzNnM51izkSabKtcVzTQdUzKAVQGLGLuMOHn6ScaxUFtysrSZaQfzyzWkA5jLPyGKDjENo0SmOGpbD7cWmu80BmRV4vKgvAZIdCo8qlWj3U+d6Q5iPZFtvyKxDIuZ5ec87c33oFdZYBsFIeRD5tRbAGQGvqzBFeJMXK7iRkdqcfn+p9tqO6r8X9N2gjzjOB/AGEb8IoEwLUo/h14/PQ4D6M1whUfBWmt7JBCKTSGgDG0nE/eXN44UzbwqNKez6krZU7DAFvxrvLnPNBbnLQwY4lQAtLY1agYjbT+Z170kCTKra8UZpuGZEBngs2pQHf4i/JICf11v1qseosUGwvPTrPMF8GW97/Sg8Pm2a4euGpHlRUEkWBgQaMMmgFSQw5qv5UKtaQAERB4yy57nT7hVh+vzw28U/34/DuMsXVZde6sUQj1EAa6hhDqg/TZ9W+UP+7P6BwLHRefp5SNN9GNbRm5H8Dsw0jAqeudJCanStILGDPyYL6zPD2pxbSLgCN3AA0zZAnUMRGcnSUuL0jrqOOXwqLlD/crr3xTpQSRFP63aZlQvWegV7rVHMhPtZh8naXsqFfeSsf82J6x5Fb9QdTHorzr3kXbYNOjQxnyOG639G4aJHma9qMU8JVfAosvCZKTi2/6irVmGTscc/v9u8aZ/lnW0xK8ymNF2CuId+21hgIcOuQnbGTYxjXX1oKdZmSU/F8+bJW02XZIHGJPaOGhUx+W+Mg6LsQI3PRm/Y/p6cRaaRmx/ro5TTW7kh8bh/J3bL0DLq9W/zpEZ31FlCjNlAafMuNtxKSiTBINceDdYJw+ebm+7sx38zFEAfy7T25sxhJwIj8gA427v/eJUM9TvkzN9khS5Ye6Uw0z3LT4Ml48FcSMnySD6B6Rbz+TwO44DqZ4IuRdF4wygDaJB4La+L7OG3vCC7cjI8Ypqw3GGLDH5aW4cW4KEZq4eC5wCpeApXfuJOj7ScrUcGor9mC8VMn4vkmohY5TpM59blHGqdvVl6kMiirOZN936/daubFxKm/1gt1IBtUNB5Ocq6+SuQiItKQLYwdLKBgtR2TqA5quCoF0X35Riy7o95l2rcrCRvt9hYliAUhDY+bS5d8o3tWAl4OYlYbZUsNpQ1iQyagG+axDQf40Q0zdatpoxaC9XIxIIbrbffxmIPav5PIIPBO8chC1rqJqxLJhhiLmpiD8XgTkEauDRgIxANuULfTYM1EVcBQr6rmBuQJbE02K4fZHRq1Zv2qaaucL1yC9P0Kg24n0R5NsVM+XtUBr9OsdHRfe7TA8oEI2yNQSqc0M7N4SIEBfCixz5hJfkaLXOTCViBUQHaCuqOhKKupWmzIqbacZQoSXLQ8ULOy2A8HxlgmLt+QKPbQVlDZOpYJHV9CSIK37JPU/dm7WGi5+w1Odg8daNy3zvBT73oOctxdEfN7g+EdKdY3yuVucuOu8YBksG0k4lzYMmdz0AE64Ol2WL+tiwzSxn3wbdxASSkjFj5I+xFmL8pv/HPkSKpsINmF53maKQZe8xvM660aPhFIpE9odh2IkkIEnEO/EqWnKePc16MTLvdJKOA4WDxsMi7Z0uriu//s6AdUvBZ1op2gC7b38mI8t9lJv1ESfQq1qpKZgxSM5Uzg+MSmwOm6FRYiFkdRSSnEBYAve25pWNZ0xplHDAaKHhpR7DADfTCxrDQOtBoPHnacnxOTwrAQH7al9UXOoOlJJLRECA5FOppA02tHmCYs6d7txVLz1iQLB+vR/P4f4Ibil9huTwMFNhKVisjzFa7gjteeYy10lXQSmc64JbKLP7PiorimRa95zP19KBwfTglwVyP0Pzkcqs4mH4pZ2RajnoI+zTtizz2UmkXR8svaBlGniBWuuQvxs+JXPiAI/bAdkMzzT53OFurJLvPFX32yvPO4T5vvSbGMb56+feJLD8cxgVbfl95GxLrrUClfy5F7Bw6ACef1CBsgDodYYvuJdOIMKxKhQMeSkqO/9RW4qTrF8c4KfSLhO4GF8UjOJWx4rx4kNdu2Qi0f8Om34/ShZS/7LQxAXf0FAzNf3VNYSOASCOCiF3VZy4alXHU9QQY3RI4oW1llKeCdClOvRpDxuXfYd5pJnCrnAfbIpLb4XoesADYZBHeam/ZRp1YU2hUqKlq0vQum1UugWsx3zSCvz7T4wYOWqVAW6MU7y0hlYZc18BDGr7l1qGggKKfdfHyiJlxQJ5wjzDFoaAHpr8ot8FNMlsOjap1QWgXsHUoVn302RHOfFK3hxqVFx91AHrk2doFiDJsehQDnc1vTpa86NdXrW1GJKXcmNZGFTlkzpBSFmqXKzrTzSjDo5TYTtHIGpqNNXuLZXv5kjbYigHUdjqew4gDLY9fzstjK32dpWugi1j4EwoFGyOATHKltFOlMSebPesiNDoKrGsxJrUbYDkO2K+KCJ4RaHzsWEMqzPWCYgBDmIsJa9mt4jgBwD3/W5V/W5WZb0GjWYZTymB/uAV72aiYh/ryNmz8FCXhIQnt8pgIGIM7k0dpnRoofjrizSHh36N/lGXJolPIP50E3Jsg1VZA8RurvkmE30FqjAjfUP0rTWuXxDH6tJQjPusSRiab17722UI1P6dRUbPhEJOv4FK1yaxZeE4pZm0u6quUMctN5JQoRbuwVEJaTEq8nosnCwyROPTiQnko8A80bPY92xeZYcdnDyKmoV7raMRSHTdaxHBnRw5znQqij9CGEY+90gig7JX9a22UzqMIAAkcu3RITgn3DqQB8tOSaf94HOIU2Si+htxK7+wGyuSrviExCbwUahJzDIwUmYnDtULh+dRJZ02LU1UdGDFv9wfhBHmrFnDBfQNU5krt05BCxPjcoxukwJCOLRoZEfl8WG80Eyo9emh8v4RfI5h9NSEwa0eZ41Y7HS97/qgm/65skxo95zS/igY3YNZgnc1ypueuRZDmvSl1yyU1NBw6DeVd/wT9mH+WOvUIQzfvWAUS/K+AIlL2t1U3ICVTKDNcAywuFfZK+fdqagfd6yml3O6HIf7Gz86cnVRNZLI5Uk9HPZFLeuuMIsdm5/ViuuKTla386LYtb7XPIUCGl+e9Wn7/ddIaXczLAjNtDDmUsixlyPxSU6OvzvszLjnu/4n53kN93dMw7BmSNyKDs4tt09WFICg/avIo4+tpFwpc790og7JyZ+QudNJKdEgGfE9x2jNVcVQwAtBT3fYnoajZDg2vUeiJT/vio4YcdGLNa9AL8RaAXAIRHF+1T+q+eQxnupoq164bJyxh1UNr3wp5i/bdjxWqigDROljeGkelCGVDx2jnrDdMQM8TmFNeJ1sy1etkF3q+knpnI3aqIWFCofZvnOJgGderkVP8uOnrGMVwPo/Px+rY4BJYiRyueNLDDwZQKMv/6WhEn61lsLtNpUactWAev5zi7Ebd7dp4aYHv7Vnq0gj8lwU+Sf0B9zGFvK+zd6f9gLkdblaX4ErNQButiqGLrrG3FX37tvvTejD8P9rpajh47owO5UWu/PStnNon6INJGTEL0pgo/uiquyq751d9UWj7Y3FHPo+2Z8BuFrB0QZ9QlEq0cJS3425FiyuhXcTbTwaKaNPRdnplsBW6FZO3JDYDWxKemHLeIHQD3ZPW9ypFC6NR5GKvZs6SJjOG0aneBnRxoFG7sXbuKrNgZQikhPjQ5L1HfUBBkO9Jyt9NiN2/eaMSJGtRkYKIokyxbjQ0VKAt6Da/X66HQP8JeVCLaK2ICpd5e7H1VqO7PpY5jx7jLcHw5EdbYsaF7JS2Cgkcwiwsc8/C13Nn4RXPaB+knuIaJkSzlyXLsMJjkyfKDVZLJjTj+BIoOe0zEhxOrwCdj+h9ZxNIxKz4hTPG14sikkJlFaX0TX3nHioOZ2LFbBtlUosZfEj9CJZvtC58X/I0tdqAXdiXs/vonBXwtp4n57OdZ3fZ5Xp0ILrB46AubJVbLq9Nt1MS3XBKxPw/HhtRi8sQ6uJfvEPIS9E8skau1mTsAoul7qUDj9rgt3/j0mAGz/wqVs9rFvh5/j0ksphWmxF9MRZwfPi8tGFG/GFrZuQfgMrwTy81G/zEPqd0SJf70gu2L0kR5e+V/zvmhwRU13taZjD28My1lZVujXaq8p+xXnEvcuNscElZ2zvhpZrBjYI920d7P2DAhCEyjX+0bCBkzOouq5KPvG6fvm7fKQs+87WWYhaX+FS6qvO5mvV96RTf/owohMT1x+4k6ZogrWdKBcFB1IkWB6as9m+m8AgdTf2ZWHKzkWwlG7LN5/wveOicPKlcAcKznDEBowam+Hbjjti38l0sX+9NucKIuzuNPxv0OBs/flfht57LBJ9wl7FKyoUh9d1A6A6uCcCqHlihKbnTSxJ8xJGv0RKrfFSLaTEhM+5S7xBRcwo604Pu1if/rVUxr0/Z/MKtlCiCh+QDUKPObX/uWrrLYXclLhPTAwnShiTrp65ol89VxkWenUCQs6ZRBMHEs1h9PMlc2ZxsN6SkHN8dBQLpflFGTvi5XCy3H2yb0LMSfWvjLmktDqroT7AKTIJ+1rTw7+/J1amHKP99LRp//HkcisOUEfMU1QjTUCNvt8y3Afjc/VszWzmVePnQmQ5zZgVv8Kp/sUZ/8yvIOlnWho7uqkdKP7TJ7Hx2Dqt4LX/FHHY7trJwM13TK6DcOPbxRxzgip3YDPv/0WwkLRjsGJ6wzgiKJXFPzQE6d1kLzkV40rEF8YLVUBluVsspDjq7WqbsTnRuHzY3MHOYtZzGsCm+leTJsdP2+iYXC85FEndVNP8pe8juEng1OXBC4Qf4O0dnpk+x9UIKEzU/Bkyc3DrlW6aKAlr4+xYDmdHomBWXa/wGAuzBcQI12xVlE1eNYc60q4oS3COsOf0NEyYYweQVqoptHqJr9Ph+kv0oU9PUHTxmcGBR+Np1p9FYEqcTcVOh4V2GhuzSjMqjDysRvhIN/rzLZgwkeOmchcZshsiG7HxmFSltA4EoYGuU5Yzjw283nXhLQsrl8+brP2bF7mLCOI4+W+6PI7GONE0h1EYi+KZGw5tcVXNabYvJ7p8NAMPvKfEk7PKb0aJhoT3aO342tPbzcuvRYJC2dDpF9vEpIvLNe99N/SSplVgMgOICglQEFURON19eDpjvAfsha/LwOR8NG3HmBevo34vXGeQyV0EmSLQcto6dk8sFkiKA6MWcVOTyiv6EVLy1+EpUwmupZTxp1UP438WWk890vWN4IWKmWFsHH6gAlhdAjcFTimmytvVbnr9OXL6Daj3XkzsP7tFLJrhnihcMQlcmffIrwqg0+v9U9L9SdW90by5LYyYwO5C13bXPWIqn7UyG+0hzD2f/PsZTY4uLcJ4rFYUzpVUpNZBIXfQeoUBkYAQaEoU7ITkV4hGWaGVrM2duQJKHLWKOimA0j2a7/O5a0Ycv/dY/UXKEiPU4NwDOJykdX3hRnVR4Tr5F+8PJmFD1pv49d9c/6Tuaxlm51X2F57EvWLEIzRHd/om/K1slUyjX/frAqwSeKAAb6mLTkpe3iy/DNUDyQ3/HPrEoyX2UB8qWJzVDFWHVV8AE1OsfzRAGk6XSO40od1BBFFwxV3xHlzSGN8JeA8qurBr4BZ9oF0AtRBLftc2fZq/JjbQoFwuZgRlOqAPy3O4zyZapo5n8Xbp6+sd+QHMdHjJkjLHFo+xwWQlD4toFcgSkIRZ23DEY8r2Y5BxmsymIXVcc3i1AT0NSXamd6swdVIdU9a6U1IQnLCS4bYHoGiwIepvo05Q/ipGUfYB7OIn6xRUyBTRFbPyU5M/KE99OY3P/qRsn2k+laVFxMur3indVVH14MKrnCEbVoFFG7UdOk7qguwxMsM0C0mZNSPyWcprhJ/kbFkGM3VBjqeREMrCDBLXsFSjJ4BtNWFQI2r7wMT/aE6sRksVGJCLRqsny5mVlkUFXQE23zHqXWFJ+3MgFbF39PfqKX5XO5Ugt+RcrrxSnBgu7gcd/vpvdC9LiHgavIdDHC6qZuQxWEkMesCtZKFnLClkRgcSZ7dnoGRe/75pIFUFKI+OC1Oeybf9l3rZmWnkprIAsMgPD6vMQHMA1PbIzz9yqjqkQkS3OZJ19ZTAhVkh91CT3LlTkqDVscP7UTtE2SYuPlxIv1fHiGQnONKbIJamVhlexNWd7LHyElRWoBKcb7/8QoJYN5psVzCpt8E1Um7tA6HooSZCQYU5Y1m5ndlxoXfMaSbg2TIJGIJxRGAFuL8tiZOwOG5SdsV8OB6/iG0DtmmmHKsRbKS4S/shlSbCkHAhjF3mHSsfmVfX+cAjP/C3CY0Y9ZM76Zd5fB5P82tmzdZkSJzGV0mbmBtVaL0ke5Co1rYek3av9xtxCZsSsxUkCSWvQ19GVi6IBAFaCZscPZaTail3J2DSlvVaKQrJ4RlQM54v5Y+8ZILUBt37bOj6BbixORXxnnXSMZDQ3EOtfsX/YQjrblmkyvrmNpq/KVZ2KK3zUGEG6XCc27SUL4kvdt/EBABwUmRwlHFuScdUe7v6SQd57u9IapIM+/YAjnDBo4d0j5B/Estd4bkDsgzaUicd0QL/rNJOjg4vYF06a2fy9JCutFkt19k2vNBH2Z2MwWoDBhtOYE798hDT0Baby4N3BI2Z9iQCPLGgeJbsqX6Nfr6f1i4VM6M/SUiMwSjkVj0eYIc+5+wSBxqyxTGDrNj1/+2fNCDDVu7clBagWq+BtaBj62z4B6JMB0G1n3+QIbq8lPG8s+HlYm/xBTrKFbvqeDba0fyNbOiMf8LOMlrPiiZ7Ty774s6ZmMNswEaOkD4s+VQu45SBNoV6f8DbT7MWHwEnSj6+kFrgTcXpyGjf0NEw9WWavIwVUDLj1PiUiM0JqB8NPShY/YLMzRwK1/UGKppbS07JWw6ftyHNwQPqvyUU0XGMt3DcfKkNLEfSs84uK8/S9WGnSE1E119f6/9QGeFWa0my7PWX1WCn70uG6z/LwubngFN3bNsMYK5Mirgcj1ClK2J50N2YtJn12HpXtqL38DPJnB/lLomv8/J6kBudZs0sFcvxTWs99XtXDbYROxi76TTFqrTdwBea2PpZrEQprmmRghu3gPflcLiZwbZ7wc2Kd1WzWm6FPQM2T/FeRW+7IK8TTG47P8+V91G3tZHdlTnds73Pl7CLb/5iwqz/BpD4tyurn6P4WLxxmHPJTQFgY1eVdorjoOrySX7NVbMgMG153nAbVTfAtb529IHpOK8vQoUNJEJ4p1XS87ZeO/4prgeki0L0YkQSsRugUGBHu+zZb0uJEjhHWt4N5Zbic8uxkAnbD3TZx9u01lpvqSjoDQvtCwos5dgqBIX0zgcvIiwfy8QY1JGzXcsCrPSrNX/pzCjruE+jttE9qSEQOsQ+Jg1fn4m4FjlU2yIpvD4u4ZIeSJnXi0LCjYwAv+GWm/PSod6davbKgnwsSntrC+nRTtRGvqkSPo3a7aCRPZ/9N/7usUmCfsaxUW73Nc5N/vCtAYdStnI00YoHEBobjuFmDRtzHmiS2+xdhvPPrCdIGdtcy/2clZd/W3WupUBbXFPOmxpoIB2MbTsQ/Pk87v8cuapXs70HJaPavynIdZxQUsfnVOHQff1TVxhDU72RzlWf2W964WiLg7n+MCk+/I7UubcevUAPoAvgNUEjSoNXCLQ47CJwocZq1HxWiYOuj95ICgNBs2603wuAsi+MZEbciqfptKxxBPA/zxgeEP4l0W/C58BJHoTm4Xi3SoyJ+ysCkGlgG2gcxD8hkMnn187N4fAm/RnEstVI9YY59U3Gj7CfvaOqnGubg+ojNEYmwTcaQv/eH6vb6pb9CTJwaaa3eXtjFCz8V+AW6PS66eO6wcz0qbyXjqnGPlbYEGb8OfQEN7eZ467DuiZVwSG79/2eexnutw0L16Phm3TVqBBmfT5LwQn5JEINfFtX1VWbgC3+v0+t021TpJI/Np868SOuSCE7tO1DWnI1cSos4MfFfNupjUVoIH9zSk8/QDw4zvV2I0WEqLxnFFWmWM23f/RmFiHH23PriELMQBrswAb8eD3HQtDMdMvS0NVLPJ10LnD0DR7YQoFAmYZ5W91Rfvyz8n80+wfxFrhpk3JSIhI+4tr9gHGI02mGqpXVxIwYLpRUMlqip9k9mCnmwturE4wkewEGAhvkGTj8ooErp05pq0rm7oLMg3sLaYRkrYAJKSJ0JIfONLxrE/85HrYhZjDVgFGzpEqjByOgWZFREwfIRLzQ7fEaXBeA/rxjXcfYy2lLORrIqfddpgLZ2c4zuBGLsm8RDMlY+dJnSR5y9Z8QBeS2JPxWHMtt5byVOp0Y6qQGWI12MzMnB3h6RVLURpSseKrKBnTdxEvsnOCix3G88lVqB7PkP+N2btA25LREPsoh24MNjgpSW1kK6S3LpGa1+Wxs6uNyuJX0l0ojNnOk5hvom8hifzuZiJr5SoVwgDc0hMy9van01RhGbfc+tnbWwGomAIM595RsOkBdV0UALhpZJTS9O1k64NrSPeTAEZ7jokLGpzSj219x5xuEFeHlj7KLmORKa/eTtqWVzFG+dMvDNyD2YYaSzw4zEDv/gL8FIAT28NXQDCLtDbFYv6NbRwxZ3INtOK0bCZIogjEAxnZ+ZcgCP3d/41x1khMAA3gnlYb5oVGSMvG0n30IbrFpotbYyvrk5knb/4rA6/FFArn9Kd+mNqjDcyEmia6C4bvBdUaPictW3l9JNEKzHtFEK1s6GtR2i2r4kpxQ0H44Q9AJxAcmNON51CxPwYM+0c1NnfaR61d/+fFUkdS1QpjJQUelFcxbBaKPSd6oltnM8DHnX0kd8M6btKKWhXcdJnXqs8DM41XYtWF6EwaKVRvUDpm11SSfMNfczI4FZXXENmgDu2Fx0UdRdvY/UCSo2fJ9i74nWIkxxbGKZ95m0Bud+8dv5/MwYupzhC9r6vWCRVmgt2OnLzuhIdszI1EGXjHBWvjuo34a1hhjY/cW4K9NWJ1BTiwjsmB45FQcKLU3BbVvImgchYn5ELKKz4lYV/lPGlUqvo4GALvJv09qskZkCtMQeEVLeFNkviNZZjsikSz2ylA6S3C02lXJAiHRuLwH8d4wHC378j4QkTTLVNb8l/7pIIKstFdb9rR0UMbbStV+qRZ9mD7w83e+KLAUsoPbQz7IYutZxHeOiyduIDRxiUnbTPJezPHfw33/AVoHYgiFtZ4ovuTrw7eGeemX43IfbugtTcrpMC+S+dEhb5b2zhwy39LJh0LpxqKdX7o17uYK1YbbHgvoadEVNmRq3rgr+j1tN+zJbRubzm+ZJcA0kkLNnJcoIHhdIObuBL4y9JikrTVieLYpZYSwPSrlhHdLk1MxnzzW9isDVRibXuHYoTppLg6tuGN+HIeUeMFZqQXld2Nv2zhqen8cH57Fvgqy7Gfj/iucQoJevpBFFNo55hew7CTn8MhKGyfzkx2VCsg2L28ZFUlI0M+uUkUQGk2JztkX6nMn7pmVOu5ejATvuofALQrLA/UZ0Z0K0135/24s157hq5uy/LtvBIUnBqMjNyDTQvhBFLQo8cWFheD0S5Bnbwb7APrcq0kpna/lOVF7AmByR1xR7i9w8bb66JdBQc5SsbIrjDo/+MD7zlf00Oy/8r5KgeDIEhNgZHwszP6i833CqyXxAK8ZFbNZ191/9UncsyUzdAg7qeTtTuuh9O1ErMTfRZckDflbn6N9+c+f3eXJ2WQkiaUI2eC6EgXK94anARVe6JCponFcGuRxLM1NwWl7h9/FAhCvbjDYviUk4Y+ShcM5hqYSmkhBS4qZZQR7o6Er1b52p60kcMco94KT5WjRF9k5j8wHCTAXNgA2BeLRWBKla9OenpdWOt8jBg3wO/odgC/WY4yx+A1M9NoaaFX9ml2MyKv0FmIInBN+hRpc23BSeSXQtDIFQnm7ElITlp58HlZzhEccdGSlMdkkqkLs6ph7qg6ZjoPokfnfHSpaZrlLx4b00QHqtYmvVSV8rEq6di08GUX+jiw37I/czsiybSZ2Gr8HOyT9o1N//LXq4NDtxECiaAtGJsBJ5js5ywQBNXjZLu9pFpG9yRZ2zqgw5za8ocuzxz/I4+ilCAIWdPhhIWhDnb3ODDzYtrflA1lVj0X1Ki8UaBU7DRlQeqjoqO5CjfjZSyRkB5Uyp+koHFiSlacR+ykn1lJe/vg7Y+uL6j2dyFpbUSPPyR7GIjz6aAOpLCuBSxGAoLcIc/jCHFwETxsrsjxbVP5NhN0rBsMI+G5HOXQF4gUDKgIbbqt8QfX1r9xi7prHRwbpdwye3yqecFQHFCMsmamVX9L58pTrYR69gGoEzE8p4x3hO1JiBMtsGOdZjBWwmfBlVcSkRzI8LJJ/oK0z/ycr+glPjHf2fRR4r9EZ4tavs1SUbKOzYKcslDnW+3WwDyuzKfpRPjiRc0SfLLtOrjVEkfYdAXYQLBg9Oq9SgC7Yyyur1lzNnqZLmQ9RThsTTtatbxWsRsJMuOQNAVcjv88Y8pOTbtlc0h9KBKuFzSLLeR3ItC97NzzE4SA8X9bA9StK69rsp8+pcUjfljTbU2rXCh3pYKg+/Kj5wccLp0swFfZxRVGDXhg5aOhwmu8oSKPTAoiwJZLcQoxe6YhHryTnRWDk127YvD1mUthTgqyp1myjo938k7ipmAhfZ0ajZ513qK7aj25irGrbcWolve/pQl0UMv+9FgB9ygdPjgNDBjET/OD9lBCkh87KaK6Rx+dMOn2PjegmpBfUvujDvPrt7NZXpG9Qz7xGc0wMBfXrWnfAF51yt1KZfMgT9eRbmVmYuJlfl49nRBO+1fD08R7zBjfaNcEIUY527/eIolSfxu/GHjfbBaR2hhrWQMfuBO/QZVEwsZyRIDompiqQsQJEqE9l9hLoEsl/1axew5I2ao2Dp2JoPkk/WplS7fuFgR9eHGyQYanJdvO/1WDyM5uWOBDjK8rBQkt8FPf75nVJD1QnYTkevMBojq8ge69l+wHCb2Rqd+AHxBzUStGIu3eaaG/FJqK1WDmQH8NVjLlRqANyjAkfikD2+Othr0md2n6xfz67OSC5b3TIHuoo4ZnU6ikwBLwCg7D6qkotP9Y4m0P/+wEFL2D/M4qOf71cNb5ddwhMtjqZlScSbmkNWl4RzTLrsXm4b6W4lhc6SFWrCJXFVeeNG+sMaF0tqbl8+FdZC3/UQv12Bl2B89dRJjBgYZwJP43qFqJVdPduo1DvLHIxSbZ4rAvrcLNP011ma3WiRwr8OzI/jrc+86twN7+DA5erZ7ofaNfF9AQKVt5Af/CXP2fAec/lFyLcGEwJa9OjXjuhaKqDtDnckzRVgse40d9oUQOB01U6tNbHq9oriAPo5D1mxP6yAodiR+EG4I3+cSN6VfF2mVqkbeeWbREdRlw39wPP5HYrdzniuAeVL+UBtt6SQov7PTPKpN8M9cepwvV5cPdnjbEG02VfLAOrJA78GGunugLPMnAg5aF2vUhHtLjk+ub7dDaSzDxNXeTD0tsABDt5rex4dAZWK1yFRgHJ/0Q7Z4gJ5RoGhJ83IzVHlYiMvl1yevfqXicyWWAxr84JA5ysCL6VkMgYGdhT0sHQiKYkLbAO3r0IUDZDItYgwbQkUIbbSgTvx5B45/2HXn5trl8r0M28g+I93vLcEy7g44oX33w3wDsuGWeCD6ofU24JiUnDZ15D0CvZAE62IpXj0izzyCNf8SXbSMmz+9TIlrXiSRj8RsbFKxRaZQYa7RzLNUtWNXeM02bgrRPux20A5ysDgN5PDv1GacND+md15O64jl5mVdMGP7s5DqcviZ2qXkNwImQ+G3OVWF5fQrn38fKvA5cNzLXpoFC6JNvbO/h7p2hfi0TKX3hw7aioc68oGviqLNG/tHrdUDQCI5jgx0StMGffaSL0QHrGHeKr45RIR/dt3c5UaII1pe9CSAbdCLE/QF5wULlXnokM4n7Od8ht3hGi0eyG2545Q0jgNVgs3RIfGuek2D/gDrQe7kPn6aiFnjJug5obRIGwIZkSTQIrFTzmAcv4LlZNC9vRaEIPLxbHnHU9JCs55Sor6lS9onuiCGjngMn+FBkyoWur1MCYnLySUbW4h/j8qGybNgGDdKa2XkmM4PEFqNUZqZ8Tx7WvsvqXGxcH8Uyt+gOZcGdq7KO5Un++L+9EY1oZhW0t6+kXMvw51HCVTenPCyz6VdDuuf75smP9ClN6DkBUwmB4AxP7c6bPMgJyV8H79VYwBMwLlyDejUSzRx4tFIRrlCBVFK9hOHsfnvzSzLKDM4vhA5AbFeLtMxj+2nRjnkuUw4HGdwn9BS3D9qRT7I/Dafs3EiJ2mDzER4afaHoxs0Jzi0N9N4fs9ABO2/+eZZ/vEJuTffd9XllOMf+1PmRQQlHJk3Vv/+L3HiLCcAZc+KTpeoJBwsfkQTgOjzGHLqimyICtosjk7Xk2lEN25OPV9/aVgkWUtFKzQBUfaELXB2VYP5gpwHPAnuFrB+GqIlKKTUaf661Bq4/JcKkavSTC9KbgsND0g6Lc4iuB6I0XVcWA0cCX9L0RN1VO08tvClFFsJx88jgTEtF4hgGZs3l+QNgcQwm+2rGksfKvvtwM9goII5SlQpXEfAm9Acmpn98r2eij4pZ4ZBG2nICH4gw6sv1FCuhz0uVMVipaxLkhz+jZwMDBHXLLYodsraJ6hWGCRv4R/wgcMCVD+D83HMSIzana1B3CScxPt+cd/Oi34DPCygfLos+3HFpruP5IQ9gx4nLuStzJfc22zy9lWg9nhi4KSk5xD2DmKLaKcPie352f6MmbJw7ymyLzeh3pmx9Yd2tA6OSqjX3m/1M9D8IjMtGmxSfkbK4ijNdofgJ32EFjYBFbz4oFfzOA+vE2cMEAbASist233+IEZeFnHvXV6/i9MuGI2qEn8S2DvzXfPyQIFSCQ4smKoaDtKQbU4vt8c2xiCvDNT6eLTJZzJkCv4iLwDLUktnqCyaWD3cxux1EdA64KoC6/HsM+R6DlycDU9J4/c23ZPnOHRYMkSXE5EG20dbN1suUvznJTkQprAj5dYjj4dOlB/kyFlHXzfD6nmKdLTFmDIAPL7yC0BihnDa54qlfL0WzMGiz0kGyHkVNkYw0VqUkMISJaSBn+HMj8glLiAqb7aXdM1VMgGn6EwvMkZvNTX8/esWrxf+smEEsrvaq5Zb0JPgyg8gM3uuRPJMaL5bsGfb2TxEMep39t9Sx+N7oVTWJBWWcNeTl3ykr/obSsvfAK+oaDE6OxNUh1SbhHmL2B6762OV0117NpRmhKUzX7HwA7SsrJvYqoT3TUdAjEMkTn68y/1nsqz36JXXjPnDxb7+LDO+KcBelppjiXXGkp2OXuU6ycIZhuRF8yhVbfh4Zd/hamcD9/PWkE+HtJjGQ7keZEgvIrq+/CtBvpG0X9DBqDNfZLg/XIgq/+xLqgfuQj9eyqoVr5KA1fdAK1QUq6a0Zr8xPOM+n0jf94wUmqVOeUK1oVwXLMAcmbDKojHywqazemQh8SAu0Bx41UN3oiXRr1cmpOGu02YB+rZWscZ38Snvd/8AbTgTN6lSPxRx4HToL03Tj5GNFTJcbf/Uul1SGVSJWKQ8p3betYAITJ+qyt7Q9iucee/1udbmt8O7ZqWL1WfwkJRkVxr2D/hiVrslga+Dn5douG5mpaUS80yk61pq6yxSmCX+ZHcw+VANSPp8ClC2LxiUmK0JU9YRvyTPhFPXdDEYJfvwyer5z4j8RZZeJ8PNIudmBUTry8xkX8i3OX/TGUn8dKCk+C5oOa01sq37fg/OHwEdTCk7v+swtm8CX1iBXshOjou5jcnXadNQhUGCshWgOH7qLv2Fkwscgl4hGArwgPy0jVifI82rMgREhFBBDGo7g3UsDAv+oAyFF5GgVBm+y8UaDHqo7L2cRxvs6NkyIJC/sTg67ghfGTgcv93M6pAsEwbIGkp6Y54ZZfTB1eLGd1ga1nIKqnNJiqsZCcaxfzj8qzwZj1vZcbGYycfDLRGMqAVm/lKtEz/x6P1LzTISk0SF2B/wEOxc33QT8OQ83epIwLbUAZ2MYnR+ZImt3T3cj3uQUGpYKcZc8XpHS3DpHLFme2SI6FOBQtGqP/meSVGl5KGYNJpodxW0313nUzNZTKy3HZEpm0wMYOjZux+4UxXsjrfQVxVJQ/HZi/5omkb8aBGQrcqz2+dwxEVrqg1MG+Gc9DlBIVl75Zf4Ts+ilvAfJeFabfQz3DDSPgTHGmnDNN8KLEy+Wh5KBBAu0QP1ZasVFnGPuTmXVoD6dCTlbgFi380Dg5XaCOrnKLDsc/zr8l+vnOJz0i2gi4kETDWUftEzaKhanu4FnrlB5LstLwCcE2ms5dit1c7frRhJ9tN2vGnvi3jvxQiNJo8sn90m0h/I5OoJecZS/g5sqWClgu3G71F+6a4e+VmWsf4BziMl4M2UsUPA81sPsMeL8qP+vINDUsi2xea1sIXdxqR/ZuEIzYPzVuycTyTdGgwlWbnWlbJ6xASz4YVvX55NW1xg+tD4PEIregK9SIXKCJM+MOF2ybM5DN8xFUBvmRPawvcFwWPG/VSLWfL01RKxVV8r4C4DsKFrO4o8tlgGTTqhaBp05oPtVz+OzTetf8D+8eb/2kDhREGUx3dlUXLn4uQggojVeZg8Tt9XH7MZ5NPgW3HTU6eJSj4OFmoM61X9yQDRG4u3blyoc/yS7gbi7X14mwRBB/e5ICkoTEtZTLGRs84aA+ZwHuMMSyih/ubaajkmfTuQEtyBcQEiTE2M492mWMX21GlOTQmM2v3Pu9eg1w7rI2yIUuo1UE/u/2tg1NkuTM6AV7hEhdByCUqU2oMIa8kOWNWb4rkhZfU0UQ2fWENhthCGbrpQbFpQXMxUTbEtK7AhShWPfJtjV1AgzHob+xVTwwwMpANesN0eTiFOsSrVeW0yuDw02DVA3pJtNmswNL/m+9djkr+Zdm7UCX8xr1mr7hRwo1GpxuVpBkW+8k3KFgm0OQ1iJkGEUTBWrl1fz3+jXGH/duZWUEOalvcIxPpn+YXOvb6sXcPIZhGLQAWD84OQUkvHzX9GfhQ9zD70H+VoWtaoAxXIuhgAFvAmPZovRYA33VHKstDAesPcRmMDYhUP2DUvzIum09Bgdhw4ZIH1I8JcdqYXkXaFHrzgGH1Jf03CPvWmjFjWaVY79mcXlV0qKMcAMIToyCnHg7Sc9hocl5ePQatHvY1nCgvBh/QlJMJkt/kZulWC+uHWavBs7C9q1VXv2NW5WQpJ8CPX4OYy7bi8GbJ9yH1w+FjyX2hcAf2JCWnrTOAuTZadASMKwRQoHI4RecxKmS+67yR2/RvoZkChRbMHAxIRP1AHpMSmfzGRLqfix+068Hhl0snQ3rU6Qoh/6CxSIn+uhMuhdEkYDiizgFO8c64gltXemERguRCKOdvtPPsdcCbtQPNmtfo2Xv83qSuvrSEv8aZI7w7kjFhq/jTbEz/U8RolunnEi4SXPnPFQJfVOqfEAq0xGf/7/gWAMne5p3L6OxvKmGimJ4KatfNzdsXgQ+n2iFjaIrBHDNYbnmnJ1g5y/ygjo28Uhnz7mIbIswDWfwH37l15FY/9vX9zqAWUAnm8EeK4tnzDbfWwAtKleRYVh5R9ufPA7a3aZZzZdKGoleth4PGBrscBwGKT1hrqN79QRo3t1PX4SN3PMQ5qwjUyg7uNzYXoTjimo01d4kQAXKSqRjX33dfePDEnmg7hpqE1QPLY4NxYXR5yA8bIh8wf2EP4uBGMKZ6kTUD0g6+xRt6pKtoIWqX73hWA1x9ftJHNcx1RkEDmEZDjsqrcuu2jH4knpJ+ga2+biBYoHMeWj9N4guEu5tBAgQEzV4tQCtIPFTSoBp9sDvjOqqSG6oLidQw3DWB2v3SZiJ2tclsT91zFOrEAYOY/lIKhicwzdskMNClAfVDzIK0Fgx+CC0leSTFfS4EYIpDNQG5PF2va3E4G8k2Ppd+i3yERYpIG+Nw1aC/v21csLoFeSdLdntb9pcJyOxQXrsWSDb3F+tRUpTAlTuuUgKaYSnwGbcRXYeg+j+XDd2rTgGBkbcHvFzWiDFcEBkEf7Mt6fPIEtOvD5FTwHSsZ8lnfagsph61ORN1WIwn88FUAbvghPBf/QXtk67gmgg+G1YEaJpGImw6T77wTCsW1QucIEmTXJyLRGvjOWs6CGGsqpypbRSLwApV+jE8gjMLVFFvvGFFbs+YDl8NAU4s1aHUL5z1IJbK7wpz15w7yut60et0jnn6uNBjrMPMzx6uN+GG3DeWkTyU9giy6E9hEAVrVxSjV/FAKidxugPJ2zImi1OUCts+vsTCq+UQfT2Q4T15jvnWem36jwGVH8Aw4UJQXgMTzNgWAuP7EUTKqYRWkeuRckxmA+YrRoFSFMTLaWVZEdI0hoXSlSSxCd1DzgRCuNrKBsCqkqiFilgUs629XdQPkJMJQCi8LDbMe2BovMlH8XpGoCj1O4PCV0O0PKqh6Cqyus6q9id/Hj5kzvdWDQpcu+037bN3ckxnYMDWUEKGFTZi6RKINwbkcGpYqZ/SvzSl1JIABA7HVa/rLH5Z+OlMhFAnhINzpKndX9kjq7UeuER3sfIiggC+V0SlvgC/lC7COWY9VJipRdqYke4YO8SBOJdma+MI5fQZ6HZw+t/cb+3z43a4N0kguOPDcl4WpLVLRmP/fW+XxpJ8/1NNNLfviVc3reGg1Z8s9j/kVBO8a+M7ddtisdsk5EKSEon9B10RShsTNds1SwSCPFdwIz1aAgMYXWQmkEs+lBSCsYPEpzWSiWmri3PPkX7OKAAIHk4mGiKsr+yM84hWaMF4g9AavzYqGy7l3er9n70alZqFNZDmAYppDl6dHj+70Vy9DL7qBhCOCxGQplHp5e0KGpF9u87wDiQMqx0a1rDjlSPaROyvXwrzNfcEa/IRz1CQ/0UPQzmiIbeKKL7TWr1jLLE03/o9qjQUxam4ubFMvHNkxLMFf7CqAJrBgNN+ZQbZXZTSOTle+67hLx56TupVFSTVPkNvmm15/0vEsREYKpx5e3Dh7OfNHI43wmMySf+uiiEhjHOoCmNPMFZe0o/yj2n4br3kzkYrbNgpTdIsqdukGaqle84cix6kGGAMA4P0ZA2OfkDayUy+BpNeoElxiewDCnh7dB0V+xs8gi/o1CJU/8YMX0rQs8/xvSA2qUUrkjx+bc4d1rLfRJ0mRBtFf7K7PVd99273yAIP+DA2mCHsh4MzlL1xVaKlMJkS+msHlZPm4DViEPZK6ZojBLAvc32G1TZ2+JHOvfS/gWG6fbLgpX8KqUZsmkzPemYxbHhGixEXOe7b0ggYa4BFfl4d5pkk189UoVZmpZmz0X3tcRSPN5kLBQ+TTF0gtnaJv3We9Y/nBd+OJNRU5vd/MDuddmprFy8IAzq5jTOmm+2ecm8OlwnaCu4igRKlnt3+DDg9FpqaP+6u33uFZAgO1+RUh8QIiaIGzrtMrOMFnondQ2peI2x1Le4W4hHbZZ9yYt5UYvPaEltr7TZFvHIJE027ZEoZJsmP0rw3iAnB6EoX4SfmrlrVzEOBFrblvy2rOUawOAVQz3qXmjYqHsW1JsjKIJpjR7q92e9toTSIVoPZC5uAXyNbC5Ld5JEs/mtxTTHfbDEjFtRtZqmKDvIh5vouwjl6EP72zjR74rsThScFNHwtSTk9jlyMtTVSgSzfsgQ9P8Y7rSVY489Yr6c4v43eTtHYnxEROJTICCk/OLHFTY3PPw5nJvu1KX95xR4qQQYQLiyBEiX3ia1JFU7dvftc9ycU82KAuLyNVwh92mK55DDHZXgVK4m7pGA8eyXZ6h6nrJO2cqDl7+Jg6AJ5+KI8fmKs4AMBjX/RALLDtcARxyTRvN+qF/Ge6MhQa2LDIwgW9dd+2Y66GTaI+1Sz7+qPFzLR7D5R1MREjPipbNz6oaYvs3mu18h9yz1RqUMQWKzcvK7vbOXZizvM4oxH1okOvckfUHAnPIUIDkpYaAk9xFM/8vUpJ+3BuiDEQvkCXZXL0arSMdsMIFsLPnVtdw2JFyBdxj7JT/EoOygkFlHuHkXma+tA9HRYMj9H5lq4AgWySHTMLKJTcmZUuhdTm1sPC0Vh3hb1WNPUvNYRqI6yQtp5Cqo/nRi2ryuL52iJ7bePfprubtJ/rLYVYWiHTpniV0SZ1aFGUX+vf6QJwz96pUhqBVKqHX5eXa7M7p0GWSesrWxby/BQfRFStomJxuGRiLkprU6pWeGKPZlJhwBYMT5UFZIBBxhJsD++IJV0/KD7E0K+ax/rVSoJ7SZVUnvhU8nEjyiAhYvCcQrbEl5Kr31ZApWuwKWhegKAW+zs+Ef3vryLDzy0jGFmfg33H+/3+SM6cRgFlfWAfVC97OpWec/yfIx860beSOozjPn/IQTswW5VWEsef5z7gwxatNdbADlnX1f8wWRj2Ey7RC5caO9puCci+LvkDyzD1Zj3z7v2GaW0ey6x1etoPBg/anXay5E0QvwmOxY4vXrG8zzlE7mLOh97vMHp/FcSvMcK9+BT266DgV5eSXofFwSHCpgTb7XkeDvzWjyiyD/KG1FQHQiJKE/UK/yGlLSa1upyVLcO1po/qX6KbNLQd7jZPn44ZMXOzKvDx358gwXFcpicFnGoNQa+l2supOFbJObZtmzGs+Wi1KewPRHS5/mhoDjUVOShOCNXpBwhxMsqgVwqg0p8y+BwoGUSW6Yh17q3wWZfKULtpeQ+e4Mg/3aYo3YasYAwvzgI7CKSjmyv3c2sKoHACSZ1eLF6bVz/n8yJqSAKVT+5LJBlBAWbAHzwYaszSRnwnYy/uNznfIpYZnvNwJZOYwjtJsFxrms7GlmCSpETkTkhPI0kgKvPasKRvcBefPYRR6jr5kT/JkfH2iu21YuIODAqpeeaeFAJkw66k00/NY05JSr3aIoH9MySv6EMEw4Mkhr97zPD0Htxh8aqb93+VaxztsI/lmVKTHlIh6Xk0oVLq3CrIG6ryu+gyuX+7xIC4Xd1vqPX3eimcNkxll3FTTYbV7qqq2FH8z53aTCbwEp/gqNy+bDLcbyfPBJqABMrN/EYUaSak93SBS1wmuUr96U2QX/UmO0A3mxuHbWX+mF+pzC64GlRx9Uq/AjPmo2HEadqEa+lAsEmdq30Wo2R3u0Xu7gpMzritGiVWlCHLC2v7lwxhSeYDP05VD2ZjZSkvqCS41ApQaurNGV1PgrENyvfn0GRHp4IVMnbrEsO0f0psEt0i9qECpB190MR+b/qHA9Mg4fzmlDulmzOv2UXqamM9xDIcyg788s4779EQeLjXhG6f3MzleTfkJ6qhPOLP4uDAdm4s3+u2FxQ7VCzQKhPLrF7D2nyLLh/0o1H8hBIbPYbUqa2awUYi7/1AIFBc5w40YbzKC8Wgia55bowcxBet1OfmOYEiklWocvLcXgw+BEvxGlyf9m3ONEu/F7LA3YT9NXIKf+FYvAkBE4kEmSUbfNVTDRYIhHFH1B1i8Y8LF5tpCTEPSriF7uJhImtpJEPG69sHGZmw7B2+EWKwGHnQAiDPuE8Gy5a6CjlnsLQUf3hVhs0qMrUQf/hHPU/hUIVI+56OwlHLPB+APo7EHjLALgqu1Yyml3ise4mcgLY5eQHUkjEteNEh28ywWrdgWDz/ZCgESq9XZV41/ySxPW+Wnxdd6TIWOoOqPwIywXO+CKTVW57yi0zV4mB1/NcadgQ4dnYvXb9QaW6g/iaebxiit6z3MrpTmFKnGS7b3QzEKMD8W7g1dL8QVHqu9RFe5dmwJP06SSwXAMrFl5i1sE3gCGTnRcSfAicevjmq9vHib6YHC6q8C9j9eMEJwJgU9aKsBD3VEwD+bvy9k/PFkHSrD4aZitdxE9VwOx76ou8g8VuHgX8CO9DfxGVs0K/PXXj2+T/I77jtlh8cHY+YiNOWV2ww3d/0HsgwIJcK3vjRzWiU85/GrQxmnIlFYP7qZuWNjDALme2idTGM8ND881I8GOBRAEiSWl0rj2i/xkdOOoxHOIjn9s8FrZmH5viAowAxS2DOUU2jfkmADoVEDL6SC92RpCnHrFCvgUGXi+ON6jbjvPiLZS7ujOcXFUoFhkLq3GQBHWINwCrs2DOpGjeC0XOz2NCNtNUmON6OMVvPO/B7HEPZR8LyKsxLA3qDKP43Vo58N/SGcP5khO3yInac9UEilhkq//DdXPONlGLr6eHr8frBEeMU7i8U8xfAN6/IwSisZUbNY5z6S1Yg2a3A0+b/2bfPT+TDcPaYe27l0zVHqx6DWO939FUBn9Kj44FWUsW6ppR2fjeq1Na4a913ZT1lP2w+Wd0DZPuYITu/pl0spl3XwWaJ2k60upJ9Luw5V6+Z8lCGnyexp3lfwidWNddwBSrdOFqjkdGKL8C98ZMcgv94fjCbQ/zp+xb34VHYCbPL1HHEbYMqefyqfISRnhR5XLVATPi5yombkNVIqbqhB6WER/F3W3mlYXiVbVj1MssZc/soSfw4etR3qMWokDK3TTAZSlilML7aoIGZapXM1SNlt+/8WzCiVXi8okGIxy0nCMB9dVgcK11fNa7ElXrkUQcXDJj9RJC77SOACyzBIIgo+2ZUrpgECWYmHwt6XH0iUk2bbwbG8Ul01eQnEME9AhUYqvH2DF/XC3gbzvCFNWxj0UZyUJ79JZKY7sFkIUBlFnYv+KDqboGvIkFFp4Capu5QQhr7zVejyJEEAjP6iEeGs20tTgisbkMtRxSTxepsw+wo3jMmzLwWiOA2y+oVordIvU1pixCj7Nvm4g9gStwbU/GcAjuyC73DeQJ6pWO9sEQTzdtPpVAsL5W2WrYI4+VdauAKf/scwM4+93Hl3LqwOcZDpwNBpAw7Cq2GxQPtc4BHTdTJhhYjbuHUSy2NelObKQq5p9ut64NXy1O5bfOSk9YBzgkHZkgTEo50p2LRbaVeqOWOvqZpRfGy/NC6L0I6ShD3ODmSaxilnUAEDI6qMhEgdbV/UAwIUqGhnPGYQru3GyzAc/0xqtu6iRSGxXXPG/7Q6V6qkBUrDq1xJvQLHiAI0LNYlWm+KJlLeGY2X/36P7KWpxkIl4Wx547TMkHl0jKPWMR+dwzi8P3DtsWC2Emq8y70v1TB+Fgm+v5IcG/FKNlQNn/ANwhiqKkBQDg5OzzxVsE11oGoW7a5OMdqWKorUHGt3916Xiqk9vjXrp2KQ45S6i4hjnMJAqUuv3fX94jWMDcSMCNuUSzVtQXgB8JPsggxnCEAGhp5W8ojmiL1Lz9J2XbYy1hXB4M8Wg7iEIxXRKMjgXljAVXwMhm8OZvZpH5X/2APNbSLeYC+khvBKQx+98socS6EY7iKQYCPuIwNOKq/8UEh1fMnaDaHxcuImJUpZl1nIWhXFTnnOHvcE8Bs0viPEqnaocffSbvAPcc1xOnklnOMbyzKRizuoN+yD795POtMxQ0sBiNpgkRtgPkj7hPK+dgLeCtrP/Er0RbMQzuGzIuWemnYVbPbBMIYMBhGcn3V3tR8XixOA/sGfn5a0inbnmItt+LPQQcSLYsp2rOM79DBD8cp8Ox5qQ8c0705jKPtupxVeVX7wVeNFX6aglzI+ANd5mM8CHRBf73QTltgHYnsjYByhgc2op9IQ/MXdJ53crc2LN3K77XJ9S8YcGMthlxPqbr/RSoyobnjIUnH66B7nq4kjW1ZKYVrNIQs2PLyVDvJNizaNqz3At4g+pcOqUPKNoEr6pV/kfXygh+hIAtZk0zQA5ps/qFoWGy/vhPNCaGnBSqUj3G9Ysu74XrLIQHuOxjoWF8Bzk6aoGhUqVnT5zvoASayJdz7cwp+DbaYXv2NlYfhdJG5ZxJMJramciHagokv9gvqs2Gz7JGGSeHsO+Z9UFAdDNBmA0ik4YAhhbilDeU8KtVegUhwQsDGOeRAZzEae47fk4jbmZSJdxJ92fjbGtjrEh1/TN5wVpfRTs6I7nlUpyXzc6/NY5xvqJ4zdjf6DSAPcB/ohD8iRNiXNuRk+PC+ElXHkUgKKExBDOvJFqxkIRRwuYn+IXYmn/V6rRUwXsl2RbtshNIpfwEKoYXdW07WlPA4vdJBVTpIIc7bncSEtnavsh6JafP+09NApVvH+TmGmree4kxuqVwKlm19Y21TLctVwKvm6SxINQ8eSlLjoEVZNTR4q03PLwpVAZDqnE/FLr8Zr1FjuDiKQYP9Oebmvfzb7PEDi4pb5vTWhHL/YpMB+CSKFDj7JYUc1vxKhlqceS83usoh6Qg+EbWiy1JH3GsvQkeJCqzfl+HIDFFUW9zGZDs7QlCnPrA5F2fURoDyWR/yBSn4792hFUEpRH8aLS8GEZiAu3pd5P5hVo21SKa7/1h+ZmIsSQ9FsvKpxVRXnEL5SzI+tiGF9Ro0aKYh8ZXIzJedy1nrw4r5kwNVXuQFAYEUPCAJrbMcrBiBDsana3cJtmkqWqKTBVf0Z6PX/ei5LPpBpo4dxIxl7AOaUFUufVV0DaU+8hr4TArHztpECARRbz0GPRAt+bELd7KBHu8+yj7+wvfbIJ6oVkuYyNvXWKmPnIdBVBwtip2P1sNV+tJODVDyR3Pw7mCFShb74RBnAUbiQYkZJGZbf2Grb4ttiOIBhE9YxzD3iX3jZWyaVXetpXjE6B2Z7uuR7s4tgiOGaA/udzXnyi7+T6PbnJZpNFXQ7JeyuQa/3Al2oxApnb0Kb4o6GMOG0PRiQyv+nJyUzPiSqZ6Lz8v6sL47xiqGrj02grA6sE0xmHbhpb3UAeQvivKnL1hJ9C//2vo//Hf4uUPSvPKXELzCgOPQZDVeN8dfElK2EhMnCxItOTYGTQIycG9lUbEn5+a8JX+MfKtrqiHfgcsfVLPuEwmUAV4S0Sf7vCB8tvWbU37cZOWuor0wcG/jxRf+rcWr0lWHUPh2bx1InrQC2iPCHrrXRpF3ApOOkXk/ZTHrUcczNv9OLEFG+fBDBjPkwtMJQiFLKQ0j4sfRwoT/Z5Z2MUaVvZHC9HHRq9Np/Hbd8roF4pycmJi/MNA/mWw/P941mcjuTXS62kOcyUyjK2ezU709Fc4yXVNobixOgoHbpQHzWgby+kEbhSqFJxEE4IIlwNmLaDagdoaa3LSPnkOsIHVqQ03vbPhkPsbF0L3gyl44y57h/b8MkI2amMHQXgXAVUYRRgSVgkd14+sNe6urbmA5OBe2EGeqoN2KWEm0DcJzpdtPt2sFb+5nAS3mDapDZQs9xUTdTBJcP7JLYGzT/pO4fdZS3Kzii/nSPFJIEYG+beXB11TSePfC6ZDO2ALxaAWvzGzS2jBKNSV8QcjS/JYHRuSFf2jcNl1oxR5Ew12SJ12kyOAUOSLEdB2G8l2QdAgpppc7hTlOWghsZNENmp118pBiTDL0GG8s/uz6CnFg35//Ois+wd1GL2RLkb5Prt1BnDeVxN4Legb4HVopZarNzv1BvSlxca8d5WElj9NSQvmfH57i8lYmqDR1PqfURgvij8OPciFrrO96SPpUBqND0mKCMlXOY3ckbz3GqLTV8kJnhl0GX8oXJ2E9An1RZcLPDba8inKKQVqfNY12K/Gi2EYBK6VC0+CA/UduZNif+0N2tuEH1KgD+IUiPhvwumq2O/cgfHJRdXSLSvGx6aFS0CI+AD+grjXgE+jHWfmOD5QRs3ZELup1DXCzMaEWzQWlCq6tOp/LVWCMsVSV4F0mdmWNNy8p2ZCoeVPL5EO8gBIQ1FSIRbJShmJoKvezlXC1B14+gBEqAbPpRbpniYXmJPvn65AGRGUonP1bwjoJOwXCpLXJWBecNx5S1uRIPXXRkn3vIirDmoS0xn4+xSDYiES49EkBEg9RkhMvP9nsyOffkkUPK6eUEJE9Et9NaCp53vemORvA9knPJ6rjTa29elxvqxU89cxxVhCrz63oCM9wbwfsv0AaOtAS//Y9Ez3FqCnYKAm4nedUyr8bTofZdvp+cVp8IaKeQiZL7GH5ZNC77BkJpLsScis/eyH26mFhTd8FozswIl1xeALri4l9UzwB/ARsnyH6XpkWVljJh44DkwdDfn0VFV37P4fgbcW9zdCGbJeH+TQkzU2C7S7/Uh7CDBr/2OOYWxJFy6F7JCuYFjf3OgatKnHm2F5ezyFnY4JTq1C3x5zVjnoP1nVE6iYaTkd7+WjEd5m13gcpxgfa25jj29mRc7ChlzTu+rYylJMLAmq6KPUaZxpDrgAqHe1vDuuq+BZUXKPc4Hu/uTPJ2o5Zpf2dIvklIgr4V/o8UuPqmrjze9fdi58hocbQYJgWBFOGoOLpqaIisIJz+ncKwv+dtPcJyjHn3m/QEV+15yNNEh4NIgc2nCW+zVMS5ler77+IBez3CzZThxAckI1vs0Ww5L9zt1m6djFHsATz8Yu6YimYqBqeHn0duWVp7Rs3DsafHNNjAW3beEzSXv67mCH7O76bvBcUn6nkgQWbHBNCJKDuf/kWHAoe4JLOGNqMWR6kYoVaUkmkFrJ3+O4kRK3sROGCMiD8u8fQjbgTx3s47o03B8cXZ9iykADTJ+VC1Xbhbqk6JFP2qIdjzMOjoMw0VWXrojjTLM5ljW23rvh/j/4i6cvfeS3+zSxuiiVBGiDpVGtUEDoS53FsOkXUfAb0b4qMTwRGfxpsRJ5RlPuuSZlwYgJ8ppHbC0+0UODLnySHYAwUedx7DTWUlBd1erh3KiusC1uK95aESONWmgnTQUezDAq0p/8oHmu7jZnz95fUI+R3URXaOEl6mr8PL78s25LE8Ysfh0CaHlAlvBDfSfTOKXGazd/CP+yDaCjpfNTW0HCeHS8NcWpWJLgWyF7r8Ko88BGq0auWqIYSrEM1hi0envzDIDz0ne7Ncq6G60X0SqpVwygymKrRqo95Sj3rOoI4XQbUSlieJfNBktWOW4S3e4I3aPV2YXr60eMjk5ZuV0ZYhOP5Tkosi15nYyQOqLQkOsGh768pGHUYP0GHrUWsVUTzfnQdlV+c1wrQsZjwdtYdg/+ey9Yo+S92rsDhh4jsOonDazm+lm+7P35UChqb09HzXRThBm7Dc7r/yY9CwRr4+qLNBB1WOHDOaZzGWzuP4HSf9ter56BJR+aTQu2iLJqMsLlCRA4X89bo08YIk+7TNI0VFaU2xVUk5TEP2+TGJHIzxzikMACbggPGFi1f0/lg+h2j4UBRPGscBL8uRji/rAEDlTlHIB8sdAQKdSDYqo0YeBgNUou+sjKY+xaG8HGjEQg6HfFwjUqw6rTfCu+SejNsbNHvoOFR3SPQzZCpXm4X78/IQsBrtXxuBjTihy7lfph1LMRLZLltnUxyWLWgIAIDv44LxM7GwQfpiONo4ImgI5znFk9sVZVxydSk5iF5DrRKigbDjCS+zg5vcoSZjpzRsJqNo/i0rzkihI0waeXLsbzbDPsMDMSAO4uHDEwP4A8Vw89DJfv8sJ6+julUbpLLxuaL9iKHmZNu4P4+nKV1VHxLMqee6r12e10JVkJ6DXC/kUi7ILPg1OLFddxQnPGjwsYv5pmLg2f9YuoydgcyChQU0WidAD89KV0LP7i8MGxIijj7mW8N2Cod8EdFIlmU86ugaGB3HC9kUKf71b3A9VXJmwrdAmMso8+802fs8ZOmjKtKET4nQBjm/kj2zJfkFEXpYt97UBcHX7XwT6g+9PDLJKgrBs5pL+ePlhrSk9opfl1dhmKrj6OGzZA3Cp4BJNRvjAF0fOpg2sxxEPZqEN9/nOzYc2w4Q8sgySHMnvuP8CoynyfUXfSTNYD5VhYeZe+yo9TLTo+b1XyRX9H0GTL1dfCh50gucOkszylpppTchoTdJcy7FPz+H2aNon6LXfKMwQnOYyTWlSbDkXMLz94zOr6XqLkybt1nytSvW2htoC+W8eHe5FFGZOHTkgrQ6bNW0Nuh0DRKI2BAtWa+peZ3BWlRKglmeHjIVESAupTUQkYM86n5K/whFPC3rfKuAISAvqUo7IhDld2J1bZ2lFXfI+A/kpg1Oj0WFtnzoRHuE3Fp895SMOw7N576Lfn7y7c5iLgeBa1CUv9SzqLR/oLX0EPWg3MCLK/974KrSLQPwnKlNeu3O1vpshizZtDD5uDj9RY9QsXTEewl0LHJBh7FBIaxFHDC1q/Ufb1Y2W4dAmF5oRNZ96FOqCTU3dvKdO8Vc4Fcn+areSbKaVsVlrLUj7MiHHxziA3RIo6rG1meYkjtdnV84ZLFcUOd+fTdUanCJjq/PXg9yiUwabijYHb4tWwdmOUHx/pXvNJR2U365Qk9HqB8liXV2878eROvYKVt7psNr+7JC+v03kOuQ4Aff65ioWuMsKEYQGptG/vjd/kcUZA+TtQRLExzsTpJxDynXmtC3L1BvmpzCkQqcxYx6e2bNx92ZdzXgitOVzKMS972Z3BMYPewlu1BGjCRVtZj8+A1ksin181CwJ4QSW5zXkTq+H7hC7Ferq3jE9RKnK0abmlnKp3xB/sBdWJGjXlgFYa58Xle6zBz00v8J59a184Q5JMrAWxXiZvfNe7VTt87MGcrzdCuRv34P8/a5a0KlX9NHJ3JtsIGiI8gsE47YyRqo7inWdjuf+kljVAtIrKLrqb2ednOux6vfRaoYPseO16fDY497kkpKbZA+gMg1txuldSbmh3aEwFcgEFPOdX8XGX9kuqFdmulOEr0Ws7gYIn+wzdxSvAnVmgBZbHw1YtDZxnVsMSWQFzSsREDRjk0/wCUF/JTqUb6z1NXCZ7aKuRHkKFcD3sskeTgFFd6/UKdvYbGsac7GeKxZjBHG7dZJYUxEnPxxT3KhszoAMgi9/n21kXUoRt7xoCQt4bt5FBsDbrROg5LdwnbElVD8E8+AoeYKDVa5zVr4iLL9luYO8Uio7RWBFzZ+otshOtT/j6YFUYqfzyfaASZ3As0nFX6NNUPuKVZdwjpDPgTB4jFr3co86+oTNLLYfoKeHNgzrrl8WMfnmRf8/ap/VcjD5hGA2kjJDw7nL8wVxihRN/+A7Q4b1w07KhlApfaxeq93/qbWdEbtCPNX9MxF0iMppNjOBzQPplaeXDWJ3Q+vamAsJG6pKYrrY/121GRcDQybqYfDOqT1zq1WD854IiV+XsMkHinlJPvWQot22E7dZ7lB1+Q0KxzUmLSoDh4ruxtZlMkx/5OjHnRVdHsMSQUF4/YV0ume8SkZohJlqJ2PC/tvrBVLV9DsgWxjk+HgTwD/5+/DEO9HWPN9op/tBl+h+12akh93YtHIZS0g4BcK88YiO6K0sP6o+zSY4LXK0brEtujj0M/BYDz4uHAw5Q4s/mey34/oeiYMtwjvgesBFSkqOeMzlnNp8DNyYjow/u9Iwnf5iByjRifShB0VLqsv0CG9SsEvi9kbNQOzHQPH6+RbYPNMXvsmFKNYoFo8GpxbgJsuKNWvTikBbw2DUEvbyqY7cdqX7Wwgwqg2hPXfbNyUm72jZKePMHgDHCsXLgV5aUEvZXZS7fmlJ9bBrCNKrT2PpaibLkhbYPTc5524RZf9jtq4wcEE5hoMOvfdTuE+/AE2guDh/9Fu98PJmZSgvuqdvAFwX3tRwCVIV0K1B1tqxxEJqzplrbNfX9VoKFGr0OoUpbkysMHZSrLLeWrrdIY7vHB6aSCN2vcYJdDGNGcUmRjKnPYDu8V/WMdNf7UizikTqbEPt+iDHVfXLgpRlWuCsoqyBCvC0t2GgOhC27Z9HGh3tCK8kwyn0vINt+n81NbuUtQyR8vN90O1o8Rs7usxKYH76tBBP6793Fhd/+3W0aXhtHmmctACQpGnkYyzRPgc648RkuIFVR6Xvktrs8GREGC5cm6aujNxxXkST7P++OlNGycpff1dy8UHT8n6lece/YeMgmW8pchqKqe07LrXkjGMNXILk4HeyZot9wv8zwYM2qMekFTWWkee7YHxaZSVzx1irh5eCMxD1f0K+vp7oO/9e6rhjZUsX5s9TtNJgFvz7Hj79o9zy6gjgd/hzlj6E30j0bOsN+nOHhUmd58NREd8HkJ9b9aDBEHy2YUGszakrXOR9qP/QGCGWE2afhs8LOspASfu2JzJRqjyb0XKvJjL5BIKXLJj1DqAtBI9HtBbaxuvlqoU+dvXO/USQS5fIDBuuh6aNZcLt3ATT7B+kUPFoLBSjPDGUVbhXg36N1ij42JrbD++SWm+4Zuq/HeQHDAsn8AD+/qfG4bEGP25QBWioWuPm7rj2jM9+Bkr4USbPOq6GPdhIF4B3tGP90A1eQ3r5Tmk/vat4AAdPplgOnRo+g/YcxEjYk9iajvHyxNWmNZjY0fXhJpBMpwv15AgaLSttkLVvzx+r8Je12lxFdAOlqF+YQhRipUd88aNklLRBSbO0wgjDxdkaQpTUGEDCUB3tJKorNuBxbx3l1Q+i8dA3oB1l0thOfCrye5oW50s7L+4Boy+oUF1qPh59Tmjt0CXmql0UoRQtVwpObaPXNxYySl1A7QxXMiIgIfdl3Q9RvSBjrdU5gr3bQ336Qoc92PywwjD7n8L2ZtUSwVurqspxiJ80q7k9TPb28TbeDYwHdVzYuuJXQAQgWPQ8LP0nybkdEenqIAGX7veDiHZQ3ur5eHp0GxSpyGQm6eg9YrWnjdhc7/CisNcBau8iq8TOthi6dOjkl6YjozcV9ME/71qDSlRSXxbKLeiSziHVyzk/lF4qpkZVhg6Vw2OuX9uReC2x9TYAfPEpbnrx2dPCql7r1LVFpqFHvO1s4OtW0IUAPaNETPpi1HK3ds8HHQ3JTZG6DOPFYvBA2F4DIeKWInju4u1WgtdB8fWOwzboD2B7c6PQ1nL3/GAsWs5tssY3G+MItIB0BZ+D1FpLvnoGonbTlJyXS/IQO89TlR1bpGu2NZWuV2kvmxLxemriFpRYsThwaAuFipDzqbM0jwbkx5DAVMQ2STZze7vK1y2HLMm/bJ2Zvauz9tOQatFF0armomGSiy7GhzjdO+REbgU2QHbx8WZ4LYrFrhL2T8leEw7wpX7s3AEqhLDLPMX78VOu45fV8m6FLMZvWTaT9cnL1c6JDLLEfWHz1ZxTselvedJyJVStw6iU2IWjOs6eavcOzbELBOoXE8o2nfISMTMNQ2dzngtpQNGG7h/k8dd6nN+vBFvixmZeE9YyZL2Sx/T+yG+NVsAbu8gEoCgxPN4aiFicokBGMP4a+ShcbQPtOjC1gAyuXO6er0thb0Zw6eXq/vcMy/IaVnsuYDsQJ8ha2jsc/n87YPNJYswzNJz6kFCSMivVbN4BD+0qePERpGQfksXVr9k0zZsTNg3BEXwddNfOCVN0f8z3DrGq3A/lKfnHGoYeBQaLTK0PTimgECXJr3gJGvxPKQfDxCSAanVhoY6LMd9xHFjGgg5E72YjwlWpi7S/B1qeuhuPnYlk5DB5jXRTwXNVb3nKFQgA+awN2jxRYGQEImwgbBPpmRmEM9BDOYhY4Q2GCeEMLVkLSLJoSeHm42ljDMDhRENwsK66Lw07u1YJZumdT6g5of0/HgETvau0md7iLNw8hnUKxWjAkJygJmgKTxSUhweF1osiQx4cYZvkBmsa7Mratv5NrTygnsZ5aUdNpmw7edayrtOhkJu5toOTGZIVaWy4GCDCIepEI/0/PSzyDr5TKOc3sSCfPKPD/lZSL3+ebTFAgc7Yhkn4zWZAJLQjljDBbbJf2tJZCZGQYx+uxxg0QQTr1QPm5IguU/dIadXdp8BPKHM94gHbpPUu2IflVeejSFcAgDl8mRY4pyltLZdMmJ2SOx0ZM5DjONihzCeIJB+Ps7XJJEHobVwxpcdjWOhonPcgQm66mWfJh0O1h2k4ICf8kOaAqtTRiN8mgXuK32x/ZaxZ9YxAkvCION1TUSgfBAyy2EfeYdtLZhX4wgFZSpE/XJuflrTdv40iBlD2abet3VjCyCW9Ncm2Eza+D4H5RmmN7bstZ9yYyccIFxtKwqxFxG27fu3gsU2+jyqiY5PYNO2V4vFEp1wSWnevL3/MzJr0OerBe/zvrcQb/ao5klv+fCZHSGDuuoJqpX9g4vukWzsYIRJZD9btqJTJrWFnrRjkDoqknBmFQxPX2Q4uiTdGMW7qSvo4uzez4c14ExDFBu3m3+W2rELoY3SnxAU7KM8x3OZsTNA/iRpmaXq7v507G3uiHUPvHjTvTrXtNh9SALDtQarJOIrx6ZnVwIcvJzm8kLVQeIykA/4Kiov5wssFI4NwE4A1/TNRLdWulMhap2ztny4zGYQFMuXrmnjemDdJuewJLryYAPzaSkOIq/6guSEwZ6NBSVglK2jbQFkayG5otu+3Z6mpTT6RzoqiHab1qGcmAlFqEgLjeE48u3alQNKFjbB2LzvX4cre82N3NbTi1dIUnZop0IikZbSgocB1gDDeTi4HLcmuJzFY/Gn/ZQr+Vj/gbpZoUuUyOHeN9E/dsCGzjJlI20SfhB50Vo+rvgvp9OOhJTWvNW/wjg7tWPtImJMcnQQVSq1gqCqyaTU7fcXtZwz3ZIfdMPzKw0wOUjxL9BFA0yLebL1kR3c7YPKPEK78Xcdj91nGFZj3W0RO1wNhsjs/FvjtyeUxDZvpt0rFE0a+xFH8U334DGzRP0Wk3AbT7R2S6ITvPHBHbjC71cjLtvC3lM/53P5rurth7fRAAjlSSbTvc0yOYz7Emp4XuGk8o4i91O48J6bP1lJ5vrSn1OOzJPNw10ztyIFJBQQQ8qC6N3yVx+M3p1jUOeDncBw1d2RmREu7NQwl4CEYsjoeZq0hOIDHazsXRMUbKZWebGfpN9PbKWS1dB+kD3PF1IPPnx5zQUESwCJqVPSr9BlrI9I0Xcc8CbUhmVNH8nH/cLIJsaxBacMDuyHBf1K5H6LL5ZPFRlv2gXw+B0lBZMw5jAfDfI9Am1GEOtaf76XKQ2Cw6ldfO62tikKIS1T645LWmiSjmomi5mdhgtSUGZXJ0SlwIJk/RpxJEgm5c1HBKLSpZcHj5ZwDLM5Dxjj6Clesvcs1aYaQcm04Y6bMEnLjsM4NFGamKg9FF71Cw0pSPnFtFi55r0hRcu1KlvkTrNXW2cjUidvSS1g9edGpHiJJ3QCRUeQPOrUj/7wxyd628kyxAJSoRvuNq1EUZOQtY31xl/FTxgcaiYDizTq0V2/ypFOf+igM+9RbxBZgMVBbpNNOBqNKx4L3ur//3UEUUyjFGxGFV0MVheGl0oAWJ6rjoJriH484Ga/7/zN9NACThs4lgWeptxUYOmSnjvV0m6vYzMvdL1tRV5RdQTFIvJ1vlghUsT8gbZitQszn6yeYbz5hzx2yIFV4w5dx6HUecD4VVK3XT3j/7WhUYzfQ7b2WMtg8z5KfhgeF3sm7I7AA1/xwbMmUtXdDrZotbdT3WPtT9QvUVUcf/SLvysOEY+leKFJUfIbIKqn6+yg4eXIZx0RwLAngt5vq1c97hz9J9+JaxbZcA8LfPmGtUkk9ILVS2PIrDMSxGImqkit0zE7HiFhdFqFgrdOs7RSn62uPHh+qHATfdigHOl+VHDPj+hlWbR6ezy5LdYrtoVSOVnnqZEDojMz+6nbyv8I5dSA67Q7FPIOP+ZNoJwqbxne94xdqg4zzDkv6no9In+lZBed5buZ5C1du9xso8O/TchftirsyhYRmpsBSz7Kb5wap+mVKj+PSVKqwnIOzoRZ0vji/MObIx33o4XGpvVhc8NFlQb0XtPXKhC/TwMlgst7P3vzHkHvx9rz5MvoNc+1cJvgAZHlgfHNJ1KfAJeYaUsk8LAYhTOWHZx1Xdnqt3fSjfbiigEXoEcFl95W549svtH2ZQTKQMV5Ik1LuPe7A9rJTd22NrRxYzUTxj+SJ3muQhVsPf0QVAknnfVE3kQymOOTUJvN9QqOhLbZJBOQD9uY0piFk0zk6JdBG9rZHJ0IZQJiATtqLg9XdmJ4OhpifwJEDuOh97uYOndgOSf9PH6KntzoSOjCcyhsX9MyzBioCTUcA7NKFL9EHEkrNKS+W2mfwmWL8JGHyz25BLiHBpZKmqxmOquPzmvKu8IDfXJYifH43EruvuRQ90e9NiBAw37cHWFylWzW6EHWcu3JbFetfDVvX/6eRCZxjRCt7giHKwYj0RwLLzDgmzsxxsWzZqA8GUhWDG48e6vbTOvyIaWVxl5S/lLljqR2o0vdRy68Shqsi0eDiX+enfW1aJcgqBk0jR+rV37YS1q+sscn5sE1AeFRDKJbr4OH79hXpk9Qw+4zuZRJtuosxsH8h2xrYVVVJjfwxNkkCPoRWzJwN3EEzzMS6MncVuR9yicW3NXyvdl+lNGpkUdEv7HrHsSw28BJYYI3j7fG/5b40bsF97QxDX7p2+EcyGHG2PK8ZSZTj7+XcYwss5qP7ieYoG2y92Cn77+83P6UtOOA/YOy3rcRlEi3I52lGgsL5Thvu1FzSXJ2ngpjFTecgd3n6TdE5FJ6j94RjSI3VrRdeTomVCnh47BFSVl0NWar+v1mO2UFP3kuABgs6biwfy7sH685pt4akvpLA5qeNBTyrHLzDU0L0lBocY4cL7KzYeBYshedRCuhsmIG6Me5VBOEy+gtpnj/CQmAyLNV5VV87Pa8uZxM2vWwltXbXajcn1VFP200w++2slmiw99w2P7nBN5yrEXa31QA4fZcIhD8t5v/XKQDudrx6ZsZ3YMI5nZ5ZLCCw9QmWq2pG2LsGN2f8K3THV3EgNvIsTZggxfLCkjj5Rgp8QYB0/D/voykSnrDSEFM1AAbuzlxAxJdmWjq10h92hr3PgIkV0QuCK9gikeTVh+CID3Ww3+3m9A8SEXgMkdq2RsoB71hUDOE2TjNUkqd+YfNnWZBjw/vNC4S9qDUjO319pZd3oAyLdVZDWy1QKT8wqulYKCbvbgT0IYKerWtTMoFdidwIS8JbCtnM+kxDug1ZoGgRcfAequOX55kvGfGQLvB8sidKcl5Y3zIZD6Wx86mXVVaD7po2JWh02EoN5kRamVkF5Y9lT2lREnZVWa0i1X9PZwuUGW5W79B0XDU6H2RC4rqhsrJThqzfasJ/Rldrsoqbyx/unoXBl/6FFMlMkYCQCNWG3t6a84MMiTyoCX4RwTAahyohePHGCN3ytZr2Vn/0GDlccwtIbr/OR8hqXqHwBrft4jsitIBwz+hb/qtPtecMNLcLCrzvInNcKrZZWmj4wGAkS7s7GCx+eOJA="/>
  <p:tag name="MEKKOXMLTAGS" val="1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Clarity">
  <a:themeElements>
    <a:clrScheme name="Clarity">
      <a:dk1>
        <a:srgbClr val="292934"/>
      </a:dk1>
      <a:lt1>
        <a:srgbClr val="FFFFFF"/>
      </a:lt1>
      <a:dk2>
        <a:srgbClr val="D2533C"/>
      </a:dk2>
      <a:lt2>
        <a:srgbClr val="F3F2DC"/>
      </a:lt2>
      <a:accent1>
        <a:srgbClr val="93A299"/>
      </a:accent1>
      <a:accent2>
        <a:srgbClr val="AD8F67"/>
      </a:accent2>
      <a:accent3>
        <a:srgbClr val="726056"/>
      </a:accent3>
      <a:accent4>
        <a:srgbClr val="4C5A6A"/>
      </a:accent4>
      <a:accent5>
        <a:srgbClr val="808DA0"/>
      </a:accent5>
      <a:accent6>
        <a:srgbClr val="79463D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ekko Graphics Presentation Template.pptx" id="{F784860D-932B-4C5D-A645-0E3B722ADAC2}" vid="{6332FCFF-3B5C-4C62-99D0-81A6FDC7EDC4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09630444F605947AF1BA8DDCB5ED808" ma:contentTypeVersion="1" ma:contentTypeDescription="Create a new document." ma:contentTypeScope="" ma:versionID="00a3c41b9dfaa2b45d93922b7a135921">
  <xsd:schema xmlns:xsd="http://www.w3.org/2001/XMLSchema" xmlns:xs="http://www.w3.org/2001/XMLSchema" xmlns:p="http://schemas.microsoft.com/office/2006/metadata/properties" xmlns:ns3="2ba1fd62-6dd1-424d-95ad-fb58ae518d27" targetNamespace="http://schemas.microsoft.com/office/2006/metadata/properties" ma:root="true" ma:fieldsID="2dfeeae552acee333ad09ae25764f874" ns3:_="">
    <xsd:import namespace="2ba1fd62-6dd1-424d-95ad-fb58ae518d27"/>
    <xsd:element name="properties">
      <xsd:complexType>
        <xsd:sequence>
          <xsd:element name="documentManagement">
            <xsd:complexType>
              <xsd:all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ba1fd62-6dd1-424d-95ad-fb58ae518d27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CBF4B83-6912-4113-8FFA-53AFDA3B5C8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ba1fd62-6dd1-424d-95ad-fb58ae518d2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58D3B85-E954-4E9A-9F87-2FA0932D14DC}">
  <ds:schemaRefs>
    <ds:schemaRef ds:uri="2ba1fd62-6dd1-424d-95ad-fb58ae518d27"/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http://purl.org/dc/dcmitype/"/>
    <ds:schemaRef ds:uri="http://schemas.microsoft.com/office/infopath/2007/PartnerControls"/>
    <ds:schemaRef ds:uri="http://schemas.microsoft.com/office/2006/metadata/properties"/>
    <ds:schemaRef ds:uri="http://purl.org/dc/terms/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3FB2D706-1D20-4F97-ADF3-60D4B4CC234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359</TotalTime>
  <Words>673</Words>
  <Application>Microsoft Office PowerPoint</Application>
  <PresentationFormat>On-screen Show (4:3)</PresentationFormat>
  <Paragraphs>203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8" baseType="lpstr">
      <vt:lpstr>Arial</vt:lpstr>
      <vt:lpstr>Calibri</vt:lpstr>
      <vt:lpstr>Century Gothic</vt:lpstr>
      <vt:lpstr>Trebuchet MS</vt:lpstr>
      <vt:lpstr>Verdana</vt:lpstr>
      <vt:lpstr>Clarity</vt:lpstr>
      <vt:lpstr>Worksheet</vt:lpstr>
      <vt:lpstr>How to Make a Market Map</vt:lpstr>
      <vt:lpstr>Agenda</vt:lpstr>
      <vt:lpstr>What Is a Market Map?</vt:lpstr>
      <vt:lpstr>Why Build a Market Map?</vt:lpstr>
      <vt:lpstr>Before You Get Started</vt:lpstr>
      <vt:lpstr>Market Map Data Sources</vt:lpstr>
      <vt:lpstr>US Auto Industry Market Map</vt:lpstr>
      <vt:lpstr>US Auto Industry Data</vt:lpstr>
      <vt:lpstr>Building US Auto Industry Market Map</vt:lpstr>
      <vt:lpstr>Tips to Make Your Market Map a Million Dollar Chart</vt:lpstr>
      <vt:lpstr>Questions and Next Steps</vt:lpstr>
    </vt:vector>
  </TitlesOfParts>
  <Company>Mekko Graphic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vid Goldstein</dc:creator>
  <cp:lastModifiedBy>David</cp:lastModifiedBy>
  <cp:revision>73</cp:revision>
  <cp:lastPrinted>2015-02-24T15:10:23Z</cp:lastPrinted>
  <dcterms:created xsi:type="dcterms:W3CDTF">2014-11-08T22:34:19Z</dcterms:created>
  <dcterms:modified xsi:type="dcterms:W3CDTF">2015-03-04T19:36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09630444F605947AF1BA8DDCB5ED808</vt:lpwstr>
  </property>
</Properties>
</file>